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theme/themeOverride2.xml" ContentType="application/vnd.openxmlformats-officedocument.themeOverride+xml"/>
  <Override PartName="/ppt/drawings/drawing2.xml" ContentType="application/vnd.openxmlformats-officedocument.drawingml.chartshapes+xml"/>
  <Override PartName="/ppt/charts/chart3.xml" ContentType="application/vnd.openxmlformats-officedocument.drawingml.chart+xml"/>
  <Override PartName="/ppt/theme/themeOverride3.xml" ContentType="application/vnd.openxmlformats-officedocument.themeOverride+xml"/>
  <Override PartName="/ppt/drawings/drawing3.xml" ContentType="application/vnd.openxmlformats-officedocument.drawingml.chartshapes+xml"/>
  <Override PartName="/ppt/charts/chart4.xml" ContentType="application/vnd.openxmlformats-officedocument.drawingml.chart+xml"/>
  <Override PartName="/ppt/theme/themeOverride4.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5"/>
  </p:notesMasterIdLst>
  <p:sldIdLst>
    <p:sldId id="289" r:id="rId2"/>
    <p:sldId id="287" r:id="rId3"/>
    <p:sldId id="286" r:id="rId4"/>
    <p:sldId id="280" r:id="rId5"/>
    <p:sldId id="281" r:id="rId6"/>
    <p:sldId id="303" r:id="rId7"/>
    <p:sldId id="296" r:id="rId8"/>
    <p:sldId id="302" r:id="rId9"/>
    <p:sldId id="299" r:id="rId10"/>
    <p:sldId id="300" r:id="rId11"/>
    <p:sldId id="298" r:id="rId12"/>
    <p:sldId id="278" r:id="rId13"/>
    <p:sldId id="301" r:id="rId14"/>
  </p:sldIdLst>
  <p:sldSz cx="9144000" cy="6858000" type="screen4x3"/>
  <p:notesSz cx="6858000" cy="9926638"/>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900"/>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Estilo Claro 1 - Ênfas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9853" autoAdjust="0"/>
  </p:normalViewPr>
  <p:slideViewPr>
    <p:cSldViewPr>
      <p:cViewPr varScale="1">
        <p:scale>
          <a:sx n="82" d="100"/>
          <a:sy n="82" d="100"/>
        </p:scale>
        <p:origin x="-1518" y="-96"/>
      </p:cViewPr>
      <p:guideLst>
        <p:guide orient="horz" pos="2160"/>
        <p:guide pos="2880"/>
      </p:guideLst>
    </p:cSldViewPr>
  </p:slideViewPr>
  <p:notesTextViewPr>
    <p:cViewPr>
      <p:scale>
        <a:sx n="1" d="1"/>
        <a:sy n="1" d="1"/>
      </p:scale>
      <p:origin x="0" y="0"/>
    </p:cViewPr>
  </p:notesTextViewPr>
  <p:sorterViewPr>
    <p:cViewPr>
      <p:scale>
        <a:sx n="100" d="100"/>
        <a:sy n="100" d="100"/>
      </p:scale>
      <p:origin x="0" y="237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oleObject" Target="../embeddings/oleObject7.bin"/><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4.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031762595940569"/>
          <c:y val="0.13389832462034348"/>
          <c:w val="0.85226594135820111"/>
          <c:h val="0.64880110749879416"/>
        </c:manualLayout>
      </c:layout>
      <c:lineChart>
        <c:grouping val="standard"/>
        <c:varyColors val="0"/>
        <c:ser>
          <c:idx val="0"/>
          <c:order val="0"/>
          <c:tx>
            <c:strRef>
              <c:f>graficos!$C$31</c:f>
              <c:strCache>
                <c:ptCount val="1"/>
                <c:pt idx="0">
                  <c:v>Petróleo + LGN</c:v>
                </c:pt>
              </c:strCache>
            </c:strRef>
          </c:tx>
          <c:marker>
            <c:symbol val="none"/>
          </c:marker>
          <c:cat>
            <c:numRef>
              <c:f>graficos!$B$32:$B$230</c:f>
              <c:numCache>
                <c:formatCode>mmm\-yy</c:formatCode>
                <c:ptCount val="199"/>
                <c:pt idx="0">
                  <c:v>36526</c:v>
                </c:pt>
                <c:pt idx="1">
                  <c:v>36557</c:v>
                </c:pt>
                <c:pt idx="2">
                  <c:v>36586</c:v>
                </c:pt>
                <c:pt idx="3">
                  <c:v>36617</c:v>
                </c:pt>
                <c:pt idx="4">
                  <c:v>36647</c:v>
                </c:pt>
                <c:pt idx="5">
                  <c:v>36678</c:v>
                </c:pt>
                <c:pt idx="6">
                  <c:v>36708</c:v>
                </c:pt>
                <c:pt idx="7">
                  <c:v>36739</c:v>
                </c:pt>
                <c:pt idx="8">
                  <c:v>36770</c:v>
                </c:pt>
                <c:pt idx="9">
                  <c:v>36800</c:v>
                </c:pt>
                <c:pt idx="10">
                  <c:v>36831</c:v>
                </c:pt>
                <c:pt idx="11">
                  <c:v>36861</c:v>
                </c:pt>
                <c:pt idx="12">
                  <c:v>36892</c:v>
                </c:pt>
                <c:pt idx="13">
                  <c:v>36923</c:v>
                </c:pt>
                <c:pt idx="14">
                  <c:v>36951</c:v>
                </c:pt>
                <c:pt idx="15">
                  <c:v>36982</c:v>
                </c:pt>
                <c:pt idx="16">
                  <c:v>37012</c:v>
                </c:pt>
                <c:pt idx="17">
                  <c:v>37043</c:v>
                </c:pt>
                <c:pt idx="18">
                  <c:v>37073</c:v>
                </c:pt>
                <c:pt idx="19">
                  <c:v>37104</c:v>
                </c:pt>
                <c:pt idx="20">
                  <c:v>37135</c:v>
                </c:pt>
                <c:pt idx="21">
                  <c:v>37165</c:v>
                </c:pt>
                <c:pt idx="22">
                  <c:v>37196</c:v>
                </c:pt>
                <c:pt idx="23">
                  <c:v>37226</c:v>
                </c:pt>
                <c:pt idx="24">
                  <c:v>37257</c:v>
                </c:pt>
                <c:pt idx="25">
                  <c:v>37288</c:v>
                </c:pt>
                <c:pt idx="26">
                  <c:v>37316</c:v>
                </c:pt>
                <c:pt idx="27">
                  <c:v>37347</c:v>
                </c:pt>
                <c:pt idx="28">
                  <c:v>37377</c:v>
                </c:pt>
                <c:pt idx="29">
                  <c:v>37408</c:v>
                </c:pt>
                <c:pt idx="30">
                  <c:v>37438</c:v>
                </c:pt>
                <c:pt idx="31">
                  <c:v>37469</c:v>
                </c:pt>
                <c:pt idx="32">
                  <c:v>37500</c:v>
                </c:pt>
                <c:pt idx="33">
                  <c:v>37530</c:v>
                </c:pt>
                <c:pt idx="34">
                  <c:v>37561</c:v>
                </c:pt>
                <c:pt idx="35">
                  <c:v>37591</c:v>
                </c:pt>
                <c:pt idx="36">
                  <c:v>37622</c:v>
                </c:pt>
                <c:pt idx="37">
                  <c:v>37653</c:v>
                </c:pt>
                <c:pt idx="38">
                  <c:v>37681</c:v>
                </c:pt>
                <c:pt idx="39">
                  <c:v>37712</c:v>
                </c:pt>
                <c:pt idx="40">
                  <c:v>37742</c:v>
                </c:pt>
                <c:pt idx="41">
                  <c:v>37773</c:v>
                </c:pt>
                <c:pt idx="42">
                  <c:v>37803</c:v>
                </c:pt>
                <c:pt idx="43">
                  <c:v>37834</c:v>
                </c:pt>
                <c:pt idx="44">
                  <c:v>37865</c:v>
                </c:pt>
                <c:pt idx="45">
                  <c:v>37895</c:v>
                </c:pt>
                <c:pt idx="46">
                  <c:v>37926</c:v>
                </c:pt>
                <c:pt idx="47">
                  <c:v>37956</c:v>
                </c:pt>
                <c:pt idx="48">
                  <c:v>37987</c:v>
                </c:pt>
                <c:pt idx="49">
                  <c:v>38018</c:v>
                </c:pt>
                <c:pt idx="50">
                  <c:v>38047</c:v>
                </c:pt>
                <c:pt idx="51">
                  <c:v>38078</c:v>
                </c:pt>
                <c:pt idx="52">
                  <c:v>38108</c:v>
                </c:pt>
                <c:pt idx="53">
                  <c:v>38139</c:v>
                </c:pt>
                <c:pt idx="54">
                  <c:v>38169</c:v>
                </c:pt>
                <c:pt idx="55">
                  <c:v>38200</c:v>
                </c:pt>
                <c:pt idx="56">
                  <c:v>38231</c:v>
                </c:pt>
                <c:pt idx="57">
                  <c:v>38261</c:v>
                </c:pt>
                <c:pt idx="58">
                  <c:v>38292</c:v>
                </c:pt>
                <c:pt idx="59">
                  <c:v>38322</c:v>
                </c:pt>
                <c:pt idx="60">
                  <c:v>38353</c:v>
                </c:pt>
                <c:pt idx="61">
                  <c:v>38384</c:v>
                </c:pt>
                <c:pt idx="62">
                  <c:v>38412</c:v>
                </c:pt>
                <c:pt idx="63">
                  <c:v>38443</c:v>
                </c:pt>
                <c:pt idx="64">
                  <c:v>38473</c:v>
                </c:pt>
                <c:pt idx="65">
                  <c:v>38504</c:v>
                </c:pt>
                <c:pt idx="66">
                  <c:v>38534</c:v>
                </c:pt>
                <c:pt idx="67">
                  <c:v>38565</c:v>
                </c:pt>
                <c:pt idx="68">
                  <c:v>38596</c:v>
                </c:pt>
                <c:pt idx="69">
                  <c:v>38626</c:v>
                </c:pt>
                <c:pt idx="70">
                  <c:v>38657</c:v>
                </c:pt>
                <c:pt idx="71">
                  <c:v>38687</c:v>
                </c:pt>
                <c:pt idx="72">
                  <c:v>38718</c:v>
                </c:pt>
                <c:pt idx="73">
                  <c:v>38749</c:v>
                </c:pt>
                <c:pt idx="74">
                  <c:v>38777</c:v>
                </c:pt>
                <c:pt idx="75">
                  <c:v>38808</c:v>
                </c:pt>
                <c:pt idx="76">
                  <c:v>38838</c:v>
                </c:pt>
                <c:pt idx="77">
                  <c:v>38869</c:v>
                </c:pt>
                <c:pt idx="78">
                  <c:v>38899</c:v>
                </c:pt>
                <c:pt idx="79">
                  <c:v>38930</c:v>
                </c:pt>
                <c:pt idx="80">
                  <c:v>38961</c:v>
                </c:pt>
                <c:pt idx="81">
                  <c:v>38991</c:v>
                </c:pt>
                <c:pt idx="82">
                  <c:v>39022</c:v>
                </c:pt>
                <c:pt idx="83">
                  <c:v>39052</c:v>
                </c:pt>
                <c:pt idx="84">
                  <c:v>39083</c:v>
                </c:pt>
                <c:pt idx="85">
                  <c:v>39114</c:v>
                </c:pt>
                <c:pt idx="86">
                  <c:v>39142</c:v>
                </c:pt>
                <c:pt idx="87">
                  <c:v>39173</c:v>
                </c:pt>
                <c:pt idx="88">
                  <c:v>39203</c:v>
                </c:pt>
                <c:pt idx="89">
                  <c:v>39234</c:v>
                </c:pt>
                <c:pt idx="90">
                  <c:v>39264</c:v>
                </c:pt>
                <c:pt idx="91">
                  <c:v>39295</c:v>
                </c:pt>
                <c:pt idx="92">
                  <c:v>39326</c:v>
                </c:pt>
                <c:pt idx="93">
                  <c:v>39356</c:v>
                </c:pt>
                <c:pt idx="94">
                  <c:v>39387</c:v>
                </c:pt>
                <c:pt idx="95">
                  <c:v>39417</c:v>
                </c:pt>
                <c:pt idx="96">
                  <c:v>39448</c:v>
                </c:pt>
                <c:pt idx="97">
                  <c:v>39479</c:v>
                </c:pt>
                <c:pt idx="98">
                  <c:v>39508</c:v>
                </c:pt>
                <c:pt idx="99">
                  <c:v>39539</c:v>
                </c:pt>
                <c:pt idx="100">
                  <c:v>39569</c:v>
                </c:pt>
                <c:pt idx="101">
                  <c:v>39600</c:v>
                </c:pt>
                <c:pt idx="102">
                  <c:v>39630</c:v>
                </c:pt>
                <c:pt idx="103">
                  <c:v>39661</c:v>
                </c:pt>
                <c:pt idx="104">
                  <c:v>39692</c:v>
                </c:pt>
                <c:pt idx="105">
                  <c:v>39722</c:v>
                </c:pt>
                <c:pt idx="106">
                  <c:v>39753</c:v>
                </c:pt>
                <c:pt idx="107">
                  <c:v>39783</c:v>
                </c:pt>
                <c:pt idx="108">
                  <c:v>39814</c:v>
                </c:pt>
                <c:pt idx="109">
                  <c:v>39845</c:v>
                </c:pt>
                <c:pt idx="110">
                  <c:v>39873</c:v>
                </c:pt>
                <c:pt idx="111">
                  <c:v>39904</c:v>
                </c:pt>
                <c:pt idx="112">
                  <c:v>39934</c:v>
                </c:pt>
                <c:pt idx="113">
                  <c:v>39965</c:v>
                </c:pt>
                <c:pt idx="114">
                  <c:v>39995</c:v>
                </c:pt>
                <c:pt idx="115">
                  <c:v>40026</c:v>
                </c:pt>
                <c:pt idx="116">
                  <c:v>40057</c:v>
                </c:pt>
                <c:pt idx="117">
                  <c:v>40087</c:v>
                </c:pt>
                <c:pt idx="118">
                  <c:v>40118</c:v>
                </c:pt>
                <c:pt idx="119">
                  <c:v>40148</c:v>
                </c:pt>
                <c:pt idx="120">
                  <c:v>40179</c:v>
                </c:pt>
                <c:pt idx="121">
                  <c:v>40210</c:v>
                </c:pt>
                <c:pt idx="122">
                  <c:v>40238</c:v>
                </c:pt>
                <c:pt idx="123">
                  <c:v>40269</c:v>
                </c:pt>
                <c:pt idx="124">
                  <c:v>40299</c:v>
                </c:pt>
                <c:pt idx="125">
                  <c:v>40330</c:v>
                </c:pt>
                <c:pt idx="126">
                  <c:v>40360</c:v>
                </c:pt>
                <c:pt idx="127">
                  <c:v>40391</c:v>
                </c:pt>
                <c:pt idx="128">
                  <c:v>40422</c:v>
                </c:pt>
                <c:pt idx="129">
                  <c:v>40452</c:v>
                </c:pt>
                <c:pt idx="130">
                  <c:v>40483</c:v>
                </c:pt>
                <c:pt idx="131">
                  <c:v>40513</c:v>
                </c:pt>
                <c:pt idx="132">
                  <c:v>40544</c:v>
                </c:pt>
                <c:pt idx="133">
                  <c:v>40575</c:v>
                </c:pt>
                <c:pt idx="134">
                  <c:v>40603</c:v>
                </c:pt>
                <c:pt idx="135">
                  <c:v>40634</c:v>
                </c:pt>
                <c:pt idx="136">
                  <c:v>40664</c:v>
                </c:pt>
                <c:pt idx="137">
                  <c:v>40695</c:v>
                </c:pt>
                <c:pt idx="138">
                  <c:v>40725</c:v>
                </c:pt>
                <c:pt idx="139">
                  <c:v>40756</c:v>
                </c:pt>
                <c:pt idx="140">
                  <c:v>40787</c:v>
                </c:pt>
                <c:pt idx="141">
                  <c:v>40817</c:v>
                </c:pt>
                <c:pt idx="142">
                  <c:v>40848</c:v>
                </c:pt>
                <c:pt idx="143">
                  <c:v>40878</c:v>
                </c:pt>
                <c:pt idx="144">
                  <c:v>40909</c:v>
                </c:pt>
                <c:pt idx="145">
                  <c:v>40940</c:v>
                </c:pt>
                <c:pt idx="146">
                  <c:v>40969</c:v>
                </c:pt>
                <c:pt idx="147">
                  <c:v>41000</c:v>
                </c:pt>
                <c:pt idx="148">
                  <c:v>41030</c:v>
                </c:pt>
                <c:pt idx="149">
                  <c:v>41061</c:v>
                </c:pt>
                <c:pt idx="150">
                  <c:v>41091</c:v>
                </c:pt>
                <c:pt idx="151">
                  <c:v>41122</c:v>
                </c:pt>
                <c:pt idx="152">
                  <c:v>41153</c:v>
                </c:pt>
                <c:pt idx="153">
                  <c:v>41183</c:v>
                </c:pt>
                <c:pt idx="154">
                  <c:v>41214</c:v>
                </c:pt>
                <c:pt idx="155">
                  <c:v>41244</c:v>
                </c:pt>
                <c:pt idx="156">
                  <c:v>41275</c:v>
                </c:pt>
                <c:pt idx="157">
                  <c:v>41306</c:v>
                </c:pt>
                <c:pt idx="158">
                  <c:v>41334</c:v>
                </c:pt>
                <c:pt idx="159">
                  <c:v>41365</c:v>
                </c:pt>
                <c:pt idx="160">
                  <c:v>41395</c:v>
                </c:pt>
                <c:pt idx="161">
                  <c:v>41426</c:v>
                </c:pt>
                <c:pt idx="162">
                  <c:v>41456</c:v>
                </c:pt>
                <c:pt idx="163">
                  <c:v>41487</c:v>
                </c:pt>
                <c:pt idx="164">
                  <c:v>41518</c:v>
                </c:pt>
                <c:pt idx="165">
                  <c:v>41548</c:v>
                </c:pt>
                <c:pt idx="166">
                  <c:v>41579</c:v>
                </c:pt>
                <c:pt idx="167">
                  <c:v>41609</c:v>
                </c:pt>
                <c:pt idx="168">
                  <c:v>41640</c:v>
                </c:pt>
                <c:pt idx="169">
                  <c:v>41671</c:v>
                </c:pt>
                <c:pt idx="170">
                  <c:v>41699</c:v>
                </c:pt>
                <c:pt idx="171">
                  <c:v>41730</c:v>
                </c:pt>
                <c:pt idx="172">
                  <c:v>41760</c:v>
                </c:pt>
                <c:pt idx="173">
                  <c:v>41791</c:v>
                </c:pt>
                <c:pt idx="174">
                  <c:v>41821</c:v>
                </c:pt>
                <c:pt idx="175">
                  <c:v>41852</c:v>
                </c:pt>
                <c:pt idx="176">
                  <c:v>41883</c:v>
                </c:pt>
                <c:pt idx="177">
                  <c:v>41913</c:v>
                </c:pt>
                <c:pt idx="178">
                  <c:v>41944</c:v>
                </c:pt>
                <c:pt idx="179">
                  <c:v>41974</c:v>
                </c:pt>
                <c:pt idx="180">
                  <c:v>42005</c:v>
                </c:pt>
                <c:pt idx="181">
                  <c:v>42036</c:v>
                </c:pt>
                <c:pt idx="182">
                  <c:v>42064</c:v>
                </c:pt>
                <c:pt idx="183">
                  <c:v>42095</c:v>
                </c:pt>
                <c:pt idx="184">
                  <c:v>42125</c:v>
                </c:pt>
                <c:pt idx="185">
                  <c:v>42156</c:v>
                </c:pt>
                <c:pt idx="186">
                  <c:v>42186</c:v>
                </c:pt>
                <c:pt idx="187">
                  <c:v>42217</c:v>
                </c:pt>
                <c:pt idx="188">
                  <c:v>42248</c:v>
                </c:pt>
                <c:pt idx="189">
                  <c:v>42278</c:v>
                </c:pt>
                <c:pt idx="190">
                  <c:v>42309</c:v>
                </c:pt>
                <c:pt idx="191">
                  <c:v>42339</c:v>
                </c:pt>
                <c:pt idx="192">
                  <c:v>42370</c:v>
                </c:pt>
                <c:pt idx="193">
                  <c:v>42401</c:v>
                </c:pt>
                <c:pt idx="194">
                  <c:v>42430</c:v>
                </c:pt>
                <c:pt idx="195">
                  <c:v>42461</c:v>
                </c:pt>
                <c:pt idx="196">
                  <c:v>42491</c:v>
                </c:pt>
                <c:pt idx="197">
                  <c:v>42522</c:v>
                </c:pt>
                <c:pt idx="198">
                  <c:v>42552</c:v>
                </c:pt>
              </c:numCache>
            </c:numRef>
          </c:cat>
          <c:val>
            <c:numRef>
              <c:f>graficos!$D$32:$D$230</c:f>
              <c:numCache>
                <c:formatCode>General</c:formatCode>
                <c:ptCount val="199"/>
                <c:pt idx="0">
                  <c:v>1187031.3884458398</c:v>
                </c:pt>
                <c:pt idx="1">
                  <c:v>1151877.674665658</c:v>
                </c:pt>
                <c:pt idx="2">
                  <c:v>1225862.4188587542</c:v>
                </c:pt>
                <c:pt idx="3">
                  <c:v>1199227.4420759769</c:v>
                </c:pt>
                <c:pt idx="4">
                  <c:v>1199033.9421137499</c:v>
                </c:pt>
                <c:pt idx="5">
                  <c:v>1245669.274846371</c:v>
                </c:pt>
                <c:pt idx="6">
                  <c:v>1222106.7151564637</c:v>
                </c:pt>
                <c:pt idx="7">
                  <c:v>1227822.2078210087</c:v>
                </c:pt>
                <c:pt idx="8">
                  <c:v>1332972.7524891973</c:v>
                </c:pt>
                <c:pt idx="9">
                  <c:v>1353118.5406313399</c:v>
                </c:pt>
                <c:pt idx="10">
                  <c:v>1399920.1192550336</c:v>
                </c:pt>
                <c:pt idx="11">
                  <c:v>1456083.3437994628</c:v>
                </c:pt>
                <c:pt idx="12">
                  <c:v>1356560.8346553799</c:v>
                </c:pt>
                <c:pt idx="13">
                  <c:v>1377492.2298229237</c:v>
                </c:pt>
                <c:pt idx="14">
                  <c:v>1299914.762761086</c:v>
                </c:pt>
                <c:pt idx="15">
                  <c:v>1307589.5094148158</c:v>
                </c:pt>
                <c:pt idx="16">
                  <c:v>1239377.2507673074</c:v>
                </c:pt>
                <c:pt idx="17">
                  <c:v>1335343.7702453663</c:v>
                </c:pt>
                <c:pt idx="18">
                  <c:v>1344964.7029367588</c:v>
                </c:pt>
                <c:pt idx="19">
                  <c:v>1324986.8065901918</c:v>
                </c:pt>
                <c:pt idx="20">
                  <c:v>1346963.4624214559</c:v>
                </c:pt>
                <c:pt idx="21">
                  <c:v>1220614.5075363233</c:v>
                </c:pt>
                <c:pt idx="22">
                  <c:v>1381619.1177056406</c:v>
                </c:pt>
                <c:pt idx="23">
                  <c:v>1465625.6597973017</c:v>
                </c:pt>
                <c:pt idx="24">
                  <c:v>1485996.5239600644</c:v>
                </c:pt>
                <c:pt idx="25">
                  <c:v>1476023.4664289714</c:v>
                </c:pt>
                <c:pt idx="26">
                  <c:v>1500885.7713462878</c:v>
                </c:pt>
                <c:pt idx="27">
                  <c:v>1510433.1968441866</c:v>
                </c:pt>
                <c:pt idx="28">
                  <c:v>1530364.4830364503</c:v>
                </c:pt>
                <c:pt idx="29">
                  <c:v>1548914.9636972419</c:v>
                </c:pt>
                <c:pt idx="30">
                  <c:v>1494064.347318314</c:v>
                </c:pt>
                <c:pt idx="31">
                  <c:v>1552524.4973366661</c:v>
                </c:pt>
                <c:pt idx="32">
                  <c:v>1531400.594597881</c:v>
                </c:pt>
                <c:pt idx="33">
                  <c:v>1523552.0899761131</c:v>
                </c:pt>
                <c:pt idx="34">
                  <c:v>1446894.9851245699</c:v>
                </c:pt>
                <c:pt idx="35">
                  <c:v>1390617.7153457669</c:v>
                </c:pt>
                <c:pt idx="36">
                  <c:v>1556451.5418891015</c:v>
                </c:pt>
                <c:pt idx="37">
                  <c:v>1598026.1706033468</c:v>
                </c:pt>
                <c:pt idx="38">
                  <c:v>1568197.902973199</c:v>
                </c:pt>
                <c:pt idx="39">
                  <c:v>1575741.77553301</c:v>
                </c:pt>
                <c:pt idx="40">
                  <c:v>1542118.1606043261</c:v>
                </c:pt>
                <c:pt idx="41">
                  <c:v>1428452.9783357552</c:v>
                </c:pt>
                <c:pt idx="42">
                  <c:v>1547669.5173088815</c:v>
                </c:pt>
                <c:pt idx="43">
                  <c:v>1600196.5123137475</c:v>
                </c:pt>
                <c:pt idx="44">
                  <c:v>1580975.9582020338</c:v>
                </c:pt>
                <c:pt idx="45">
                  <c:v>1556925.4069667293</c:v>
                </c:pt>
                <c:pt idx="46">
                  <c:v>1537832.7221722533</c:v>
                </c:pt>
                <c:pt idx="47">
                  <c:v>1537942.3819801053</c:v>
                </c:pt>
                <c:pt idx="48">
                  <c:v>1516614.7688683006</c:v>
                </c:pt>
                <c:pt idx="49">
                  <c:v>1513367.6923921129</c:v>
                </c:pt>
                <c:pt idx="50">
                  <c:v>1541696.957572307</c:v>
                </c:pt>
                <c:pt idx="51">
                  <c:v>1509987.6090497968</c:v>
                </c:pt>
                <c:pt idx="52">
                  <c:v>1481531.194374383</c:v>
                </c:pt>
                <c:pt idx="53">
                  <c:v>1543912.3953530793</c:v>
                </c:pt>
                <c:pt idx="54">
                  <c:v>1568782.9619666613</c:v>
                </c:pt>
                <c:pt idx="55">
                  <c:v>1556059.2821851736</c:v>
                </c:pt>
                <c:pt idx="56">
                  <c:v>1586626.8688634923</c:v>
                </c:pt>
                <c:pt idx="57">
                  <c:v>1565640.0939253098</c:v>
                </c:pt>
                <c:pt idx="58">
                  <c:v>1515226.9787257239</c:v>
                </c:pt>
                <c:pt idx="59">
                  <c:v>1563676.6893296409</c:v>
                </c:pt>
                <c:pt idx="60">
                  <c:v>1567157.3066331053</c:v>
                </c:pt>
                <c:pt idx="61">
                  <c:v>1565501.7121795227</c:v>
                </c:pt>
                <c:pt idx="62">
                  <c:v>1611350.7556004275</c:v>
                </c:pt>
                <c:pt idx="63">
                  <c:v>1739328.3979193266</c:v>
                </c:pt>
                <c:pt idx="64">
                  <c:v>1759311.7858895746</c:v>
                </c:pt>
                <c:pt idx="65">
                  <c:v>1781082.9396952791</c:v>
                </c:pt>
                <c:pt idx="66">
                  <c:v>1767849.3494193177</c:v>
                </c:pt>
                <c:pt idx="67">
                  <c:v>1716028.3139400526</c:v>
                </c:pt>
                <c:pt idx="68">
                  <c:v>1755485.6686395747</c:v>
                </c:pt>
                <c:pt idx="69">
                  <c:v>1750358.7735008565</c:v>
                </c:pt>
                <c:pt idx="70">
                  <c:v>1759306.1067886055</c:v>
                </c:pt>
                <c:pt idx="71">
                  <c:v>1773353.7252082084</c:v>
                </c:pt>
                <c:pt idx="72">
                  <c:v>1776319.6443125699</c:v>
                </c:pt>
                <c:pt idx="73">
                  <c:v>1777649.4237174825</c:v>
                </c:pt>
                <c:pt idx="74">
                  <c:v>1770670.2114212217</c:v>
                </c:pt>
                <c:pt idx="75">
                  <c:v>1826819.4401638708</c:v>
                </c:pt>
                <c:pt idx="76">
                  <c:v>1828151.1150130557</c:v>
                </c:pt>
                <c:pt idx="77">
                  <c:v>1716119.4038925616</c:v>
                </c:pt>
                <c:pt idx="78">
                  <c:v>1816775.960785595</c:v>
                </c:pt>
                <c:pt idx="79">
                  <c:v>1793860.5793900371</c:v>
                </c:pt>
                <c:pt idx="80">
                  <c:v>1823444.3549891922</c:v>
                </c:pt>
                <c:pt idx="81">
                  <c:v>1847603.3402609304</c:v>
                </c:pt>
                <c:pt idx="82">
                  <c:v>1853909.9381291133</c:v>
                </c:pt>
                <c:pt idx="83">
                  <c:v>1874576.3887775773</c:v>
                </c:pt>
                <c:pt idx="84">
                  <c:v>1822406.4211376989</c:v>
                </c:pt>
                <c:pt idx="85">
                  <c:v>1846099.3522381436</c:v>
                </c:pt>
                <c:pt idx="86">
                  <c:v>1853799.0608686407</c:v>
                </c:pt>
                <c:pt idx="87">
                  <c:v>1822307.8260067389</c:v>
                </c:pt>
                <c:pt idx="88">
                  <c:v>1803951.962394166</c:v>
                </c:pt>
                <c:pt idx="89">
                  <c:v>1867137.6621987964</c:v>
                </c:pt>
                <c:pt idx="90">
                  <c:v>1853329.8171873253</c:v>
                </c:pt>
                <c:pt idx="91">
                  <c:v>1846109.8290243654</c:v>
                </c:pt>
                <c:pt idx="92">
                  <c:v>1812413.9671797068</c:v>
                </c:pt>
                <c:pt idx="93">
                  <c:v>1771775.6698305828</c:v>
                </c:pt>
                <c:pt idx="94">
                  <c:v>1798970.4977975141</c:v>
                </c:pt>
                <c:pt idx="95">
                  <c:v>1893975.4577215381</c:v>
                </c:pt>
                <c:pt idx="96">
                  <c:v>1865251.3498669097</c:v>
                </c:pt>
                <c:pt idx="97">
                  <c:v>1857885.3238054814</c:v>
                </c:pt>
                <c:pt idx="98">
                  <c:v>1835428.4449306771</c:v>
                </c:pt>
                <c:pt idx="99">
                  <c:v>1884565.2448556197</c:v>
                </c:pt>
                <c:pt idx="100">
                  <c:v>1901847.7005798216</c:v>
                </c:pt>
                <c:pt idx="101">
                  <c:v>1916554.4366834038</c:v>
                </c:pt>
                <c:pt idx="102">
                  <c:v>1912080.0474937344</c:v>
                </c:pt>
                <c:pt idx="103">
                  <c:v>1929056.0421601969</c:v>
                </c:pt>
                <c:pt idx="104">
                  <c:v>1946080.4914466664</c:v>
                </c:pt>
                <c:pt idx="105">
                  <c:v>1917943.8632860428</c:v>
                </c:pt>
                <c:pt idx="106">
                  <c:v>1891419.6747492754</c:v>
                </c:pt>
                <c:pt idx="107">
                  <c:v>1924381.5366231345</c:v>
                </c:pt>
                <c:pt idx="108">
                  <c:v>1972580.5554875568</c:v>
                </c:pt>
                <c:pt idx="109">
                  <c:v>1991043.6398303905</c:v>
                </c:pt>
                <c:pt idx="110">
                  <c:v>2023749.6373701345</c:v>
                </c:pt>
                <c:pt idx="111">
                  <c:v>2021952.2581720524</c:v>
                </c:pt>
                <c:pt idx="112">
                  <c:v>2039426.0058684694</c:v>
                </c:pt>
                <c:pt idx="113">
                  <c:v>1982251.79501259</c:v>
                </c:pt>
                <c:pt idx="114">
                  <c:v>1991672.9300772613</c:v>
                </c:pt>
                <c:pt idx="115">
                  <c:v>2036928.5037587779</c:v>
                </c:pt>
                <c:pt idx="116">
                  <c:v>2070069.3495254063</c:v>
                </c:pt>
                <c:pt idx="117">
                  <c:v>2070286.0873847113</c:v>
                </c:pt>
                <c:pt idx="118">
                  <c:v>2066171.2021647475</c:v>
                </c:pt>
                <c:pt idx="119">
                  <c:v>2079460.1414460943</c:v>
                </c:pt>
                <c:pt idx="120">
                  <c:v>2076759.8317695684</c:v>
                </c:pt>
                <c:pt idx="121">
                  <c:v>2095740.8624559604</c:v>
                </c:pt>
                <c:pt idx="122">
                  <c:v>2111935.602326585</c:v>
                </c:pt>
                <c:pt idx="123">
                  <c:v>2162887.8200964024</c:v>
                </c:pt>
                <c:pt idx="124">
                  <c:v>2158025.782371738</c:v>
                </c:pt>
                <c:pt idx="125">
                  <c:v>2127130.3007101212</c:v>
                </c:pt>
                <c:pt idx="126">
                  <c:v>2141164.6897849431</c:v>
                </c:pt>
                <c:pt idx="127">
                  <c:v>2165374.7889003712</c:v>
                </c:pt>
                <c:pt idx="128">
                  <c:v>2077235.481634767</c:v>
                </c:pt>
                <c:pt idx="129">
                  <c:v>2077689.6635229057</c:v>
                </c:pt>
                <c:pt idx="130">
                  <c:v>2179720.4910107953</c:v>
                </c:pt>
                <c:pt idx="131">
                  <c:v>2271224.4393445035</c:v>
                </c:pt>
                <c:pt idx="132">
                  <c:v>2212968.1561202914</c:v>
                </c:pt>
                <c:pt idx="133">
                  <c:v>2151174.0288334447</c:v>
                </c:pt>
                <c:pt idx="134">
                  <c:v>2165211.5644999989</c:v>
                </c:pt>
                <c:pt idx="135">
                  <c:v>2141202.8806527155</c:v>
                </c:pt>
                <c:pt idx="136">
                  <c:v>2162318.21251971</c:v>
                </c:pt>
                <c:pt idx="137">
                  <c:v>2227816.5048882402</c:v>
                </c:pt>
                <c:pt idx="138">
                  <c:v>2161364.9033893417</c:v>
                </c:pt>
                <c:pt idx="139">
                  <c:v>2139610.8956828895</c:v>
                </c:pt>
                <c:pt idx="140">
                  <c:v>2187730.2545050853</c:v>
                </c:pt>
                <c:pt idx="141">
                  <c:v>2190941.201043624</c:v>
                </c:pt>
                <c:pt idx="142">
                  <c:v>2271078.6432433682</c:v>
                </c:pt>
                <c:pt idx="143">
                  <c:v>2301290.8092465256</c:v>
                </c:pt>
                <c:pt idx="144">
                  <c:v>2315697.7968151993</c:v>
                </c:pt>
                <c:pt idx="145">
                  <c:v>2288903.3758192766</c:v>
                </c:pt>
                <c:pt idx="146">
                  <c:v>2168525.0756472894</c:v>
                </c:pt>
                <c:pt idx="147">
                  <c:v>2106275.252825703</c:v>
                </c:pt>
                <c:pt idx="148">
                  <c:v>2136307.2947088191</c:v>
                </c:pt>
                <c:pt idx="149">
                  <c:v>2126763.6597373793</c:v>
                </c:pt>
                <c:pt idx="150">
                  <c:v>2115512.3739027567</c:v>
                </c:pt>
                <c:pt idx="151">
                  <c:v>2094247.9640757807</c:v>
                </c:pt>
                <c:pt idx="152">
                  <c:v>2006371.3297607142</c:v>
                </c:pt>
                <c:pt idx="153">
                  <c:v>2099281.6557267718</c:v>
                </c:pt>
                <c:pt idx="154">
                  <c:v>2133752.0734210969</c:v>
                </c:pt>
                <c:pt idx="155">
                  <c:v>2198374.1420387989</c:v>
                </c:pt>
                <c:pt idx="156">
                  <c:v>2142538.4447886492</c:v>
                </c:pt>
                <c:pt idx="157">
                  <c:v>2107950.3361999947</c:v>
                </c:pt>
                <c:pt idx="158">
                  <c:v>1945701.6861776283</c:v>
                </c:pt>
                <c:pt idx="159">
                  <c:v>2015537.1299624078</c:v>
                </c:pt>
                <c:pt idx="160">
                  <c:v>2083896.0553885819</c:v>
                </c:pt>
                <c:pt idx="161">
                  <c:v>2194775.1081639803</c:v>
                </c:pt>
                <c:pt idx="162">
                  <c:v>2067490.0050318581</c:v>
                </c:pt>
                <c:pt idx="163">
                  <c:v>2097888.0428892849</c:v>
                </c:pt>
                <c:pt idx="164">
                  <c:v>2182851.9596046638</c:v>
                </c:pt>
                <c:pt idx="165">
                  <c:v>2166411.705596948</c:v>
                </c:pt>
                <c:pt idx="166">
                  <c:v>2170260.2386086076</c:v>
                </c:pt>
                <c:pt idx="167">
                  <c:v>2196967.7644855124</c:v>
                </c:pt>
                <c:pt idx="168">
                  <c:v>2133591.3266655807</c:v>
                </c:pt>
                <c:pt idx="169">
                  <c:v>2175229.2917682393</c:v>
                </c:pt>
                <c:pt idx="170">
                  <c:v>2202563.9390439107</c:v>
                </c:pt>
                <c:pt idx="171">
                  <c:v>2224482.7636305699</c:v>
                </c:pt>
                <c:pt idx="172">
                  <c:v>2278499.5114674624</c:v>
                </c:pt>
                <c:pt idx="173">
                  <c:v>2338153.6234828429</c:v>
                </c:pt>
                <c:pt idx="174">
                  <c:v>2365237.9491932495</c:v>
                </c:pt>
                <c:pt idx="175">
                  <c:v>2423070.5757257086</c:v>
                </c:pt>
                <c:pt idx="176">
                  <c:v>2454696.6668805205</c:v>
                </c:pt>
                <c:pt idx="177">
                  <c:v>2493526.7957980745</c:v>
                </c:pt>
                <c:pt idx="178">
                  <c:v>2457377.3876459501</c:v>
                </c:pt>
                <c:pt idx="179">
                  <c:v>2595680.5697970437</c:v>
                </c:pt>
                <c:pt idx="180">
                  <c:v>2567668.3446790241</c:v>
                </c:pt>
                <c:pt idx="181">
                  <c:v>2527547.4828737122</c:v>
                </c:pt>
                <c:pt idx="182">
                  <c:v>2503252.3682804662</c:v>
                </c:pt>
                <c:pt idx="183">
                  <c:v>2484149.875207826</c:v>
                </c:pt>
                <c:pt idx="184">
                  <c:v>2497624.4453604138</c:v>
                </c:pt>
                <c:pt idx="185">
                  <c:v>2484783.0256792479</c:v>
                </c:pt>
                <c:pt idx="186">
                  <c:v>2559030.3705476429</c:v>
                </c:pt>
                <c:pt idx="187">
                  <c:v>2640632.8038811041</c:v>
                </c:pt>
                <c:pt idx="188">
                  <c:v>2480653.8480630498</c:v>
                </c:pt>
                <c:pt idx="189">
                  <c:v>2495972.4584075348</c:v>
                </c:pt>
                <c:pt idx="190">
                  <c:v>2456756.1665461119</c:v>
                </c:pt>
                <c:pt idx="191">
                  <c:v>2618937.3196043414</c:v>
                </c:pt>
                <c:pt idx="192">
                  <c:v>2428368.3811944863</c:v>
                </c:pt>
                <c:pt idx="193">
                  <c:v>2412074.6247199131</c:v>
                </c:pt>
                <c:pt idx="194">
                  <c:v>2345009.079172024</c:v>
                </c:pt>
                <c:pt idx="195">
                  <c:v>2376743.9253859329</c:v>
                </c:pt>
                <c:pt idx="196">
                  <c:v>2587241.3165957774</c:v>
                </c:pt>
                <c:pt idx="197">
                  <c:v>2659134.2085160003</c:v>
                </c:pt>
                <c:pt idx="198">
                  <c:v>2678287.6758558271</c:v>
                </c:pt>
              </c:numCache>
            </c:numRef>
          </c:val>
          <c:smooth val="0"/>
        </c:ser>
        <c:dLbls>
          <c:showLegendKey val="0"/>
          <c:showVal val="0"/>
          <c:showCatName val="0"/>
          <c:showSerName val="0"/>
          <c:showPercent val="0"/>
          <c:showBubbleSize val="0"/>
        </c:dLbls>
        <c:marker val="1"/>
        <c:smooth val="0"/>
        <c:axId val="135401984"/>
        <c:axId val="92774976"/>
      </c:lineChart>
      <c:dateAx>
        <c:axId val="135401984"/>
        <c:scaling>
          <c:orientation val="minMax"/>
        </c:scaling>
        <c:delete val="0"/>
        <c:axPos val="b"/>
        <c:numFmt formatCode="mmm\-yy" sourceLinked="0"/>
        <c:majorTickMark val="out"/>
        <c:minorTickMark val="none"/>
        <c:tickLblPos val="nextTo"/>
        <c:crossAx val="92774976"/>
        <c:crosses val="autoZero"/>
        <c:auto val="1"/>
        <c:lblOffset val="100"/>
        <c:baseTimeUnit val="months"/>
      </c:dateAx>
      <c:valAx>
        <c:axId val="92774976"/>
        <c:scaling>
          <c:orientation val="minMax"/>
        </c:scaling>
        <c:delete val="0"/>
        <c:axPos val="l"/>
        <c:majorGridlines/>
        <c:numFmt formatCode="#,##0" sourceLinked="0"/>
        <c:majorTickMark val="out"/>
        <c:minorTickMark val="none"/>
        <c:tickLblPos val="nextTo"/>
        <c:txPr>
          <a:bodyPr/>
          <a:lstStyle/>
          <a:p>
            <a:pPr>
              <a:defRPr sz="1400" b="1"/>
            </a:pPr>
            <a:endParaRPr lang="pt-BR"/>
          </a:p>
        </c:txPr>
        <c:crossAx val="135401984"/>
        <c:crosses val="autoZero"/>
        <c:crossBetween val="between"/>
        <c:dispUnits>
          <c:builtInUnit val="thousands"/>
          <c:dispUnitsLbl>
            <c:layout>
              <c:manualLayout>
                <c:xMode val="edge"/>
                <c:yMode val="edge"/>
                <c:x val="1.2855884009089207E-2"/>
                <c:y val="0.13152298453931605"/>
              </c:manualLayout>
            </c:layout>
            <c:tx>
              <c:rich>
                <a:bodyPr/>
                <a:lstStyle/>
                <a:p>
                  <a:pPr>
                    <a:defRPr sz="1800"/>
                  </a:pPr>
                  <a:r>
                    <a:rPr lang="pt-BR" sz="1800"/>
                    <a:t>Mil barris/dia</a:t>
                  </a:r>
                </a:p>
              </c:rich>
            </c:tx>
          </c:dispUnitsLbl>
        </c:dispUnits>
      </c:valAx>
    </c:plotArea>
    <c:legend>
      <c:legendPos val="r"/>
      <c:layout>
        <c:manualLayout>
          <c:xMode val="edge"/>
          <c:yMode val="edge"/>
          <c:x val="0.3222479117821116"/>
          <c:y val="0.91514784926628068"/>
          <c:w val="0.30841136359967602"/>
          <c:h val="6.5377509494829802E-2"/>
        </c:manualLayout>
      </c:layout>
      <c:overlay val="0"/>
      <c:txPr>
        <a:bodyPr/>
        <a:lstStyle/>
        <a:p>
          <a:pPr>
            <a:defRPr sz="2400" b="1"/>
          </a:pPr>
          <a:endParaRPr lang="pt-BR"/>
        </a:p>
      </c:txPr>
    </c:legend>
    <c:plotVisOnly val="1"/>
    <c:dispBlanksAs val="gap"/>
    <c:showDLblsOverMax val="0"/>
  </c:chart>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304601924759407"/>
          <c:y val="0.14934253443038722"/>
          <c:w val="0.88475164339866064"/>
          <c:h val="0.65308915037305726"/>
        </c:manualLayout>
      </c:layout>
      <c:lineChart>
        <c:grouping val="standard"/>
        <c:varyColors val="0"/>
        <c:ser>
          <c:idx val="0"/>
          <c:order val="0"/>
          <c:tx>
            <c:v>Produção</c:v>
          </c:tx>
          <c:marker>
            <c:symbol val="none"/>
          </c:marker>
          <c:cat>
            <c:numRef>
              <c:f>graficos!$B$32:$B$230</c:f>
              <c:numCache>
                <c:formatCode>mmm\-yy</c:formatCode>
                <c:ptCount val="199"/>
                <c:pt idx="0">
                  <c:v>36526</c:v>
                </c:pt>
                <c:pt idx="1">
                  <c:v>36557</c:v>
                </c:pt>
                <c:pt idx="2">
                  <c:v>36586</c:v>
                </c:pt>
                <c:pt idx="3">
                  <c:v>36617</c:v>
                </c:pt>
                <c:pt idx="4">
                  <c:v>36647</c:v>
                </c:pt>
                <c:pt idx="5">
                  <c:v>36678</c:v>
                </c:pt>
                <c:pt idx="6">
                  <c:v>36708</c:v>
                </c:pt>
                <c:pt idx="7">
                  <c:v>36739</c:v>
                </c:pt>
                <c:pt idx="8">
                  <c:v>36770</c:v>
                </c:pt>
                <c:pt idx="9">
                  <c:v>36800</c:v>
                </c:pt>
                <c:pt idx="10">
                  <c:v>36831</c:v>
                </c:pt>
                <c:pt idx="11">
                  <c:v>36861</c:v>
                </c:pt>
                <c:pt idx="12">
                  <c:v>36892</c:v>
                </c:pt>
                <c:pt idx="13">
                  <c:v>36923</c:v>
                </c:pt>
                <c:pt idx="14">
                  <c:v>36951</c:v>
                </c:pt>
                <c:pt idx="15">
                  <c:v>36982</c:v>
                </c:pt>
                <c:pt idx="16">
                  <c:v>37012</c:v>
                </c:pt>
                <c:pt idx="17">
                  <c:v>37043</c:v>
                </c:pt>
                <c:pt idx="18">
                  <c:v>37073</c:v>
                </c:pt>
                <c:pt idx="19">
                  <c:v>37104</c:v>
                </c:pt>
                <c:pt idx="20">
                  <c:v>37135</c:v>
                </c:pt>
                <c:pt idx="21">
                  <c:v>37165</c:v>
                </c:pt>
                <c:pt idx="22">
                  <c:v>37196</c:v>
                </c:pt>
                <c:pt idx="23">
                  <c:v>37226</c:v>
                </c:pt>
                <c:pt idx="24">
                  <c:v>37257</c:v>
                </c:pt>
                <c:pt idx="25">
                  <c:v>37288</c:v>
                </c:pt>
                <c:pt idx="26">
                  <c:v>37316</c:v>
                </c:pt>
                <c:pt idx="27">
                  <c:v>37347</c:v>
                </c:pt>
                <c:pt idx="28">
                  <c:v>37377</c:v>
                </c:pt>
                <c:pt idx="29">
                  <c:v>37408</c:v>
                </c:pt>
                <c:pt idx="30">
                  <c:v>37438</c:v>
                </c:pt>
                <c:pt idx="31">
                  <c:v>37469</c:v>
                </c:pt>
                <c:pt idx="32">
                  <c:v>37500</c:v>
                </c:pt>
                <c:pt idx="33">
                  <c:v>37530</c:v>
                </c:pt>
                <c:pt idx="34">
                  <c:v>37561</c:v>
                </c:pt>
                <c:pt idx="35">
                  <c:v>37591</c:v>
                </c:pt>
                <c:pt idx="36">
                  <c:v>37622</c:v>
                </c:pt>
                <c:pt idx="37">
                  <c:v>37653</c:v>
                </c:pt>
                <c:pt idx="38">
                  <c:v>37681</c:v>
                </c:pt>
                <c:pt idx="39">
                  <c:v>37712</c:v>
                </c:pt>
                <c:pt idx="40">
                  <c:v>37742</c:v>
                </c:pt>
                <c:pt idx="41">
                  <c:v>37773</c:v>
                </c:pt>
                <c:pt idx="42">
                  <c:v>37803</c:v>
                </c:pt>
                <c:pt idx="43">
                  <c:v>37834</c:v>
                </c:pt>
                <c:pt idx="44">
                  <c:v>37865</c:v>
                </c:pt>
                <c:pt idx="45">
                  <c:v>37895</c:v>
                </c:pt>
                <c:pt idx="46">
                  <c:v>37926</c:v>
                </c:pt>
                <c:pt idx="47">
                  <c:v>37956</c:v>
                </c:pt>
                <c:pt idx="48">
                  <c:v>37987</c:v>
                </c:pt>
                <c:pt idx="49">
                  <c:v>38018</c:v>
                </c:pt>
                <c:pt idx="50">
                  <c:v>38047</c:v>
                </c:pt>
                <c:pt idx="51">
                  <c:v>38078</c:v>
                </c:pt>
                <c:pt idx="52">
                  <c:v>38108</c:v>
                </c:pt>
                <c:pt idx="53">
                  <c:v>38139</c:v>
                </c:pt>
                <c:pt idx="54">
                  <c:v>38169</c:v>
                </c:pt>
                <c:pt idx="55">
                  <c:v>38200</c:v>
                </c:pt>
                <c:pt idx="56">
                  <c:v>38231</c:v>
                </c:pt>
                <c:pt idx="57">
                  <c:v>38261</c:v>
                </c:pt>
                <c:pt idx="58">
                  <c:v>38292</c:v>
                </c:pt>
                <c:pt idx="59">
                  <c:v>38322</c:v>
                </c:pt>
                <c:pt idx="60">
                  <c:v>38353</c:v>
                </c:pt>
                <c:pt idx="61">
                  <c:v>38384</c:v>
                </c:pt>
                <c:pt idx="62">
                  <c:v>38412</c:v>
                </c:pt>
                <c:pt idx="63">
                  <c:v>38443</c:v>
                </c:pt>
                <c:pt idx="64">
                  <c:v>38473</c:v>
                </c:pt>
                <c:pt idx="65">
                  <c:v>38504</c:v>
                </c:pt>
                <c:pt idx="66">
                  <c:v>38534</c:v>
                </c:pt>
                <c:pt idx="67">
                  <c:v>38565</c:v>
                </c:pt>
                <c:pt idx="68">
                  <c:v>38596</c:v>
                </c:pt>
                <c:pt idx="69">
                  <c:v>38626</c:v>
                </c:pt>
                <c:pt idx="70">
                  <c:v>38657</c:v>
                </c:pt>
                <c:pt idx="71">
                  <c:v>38687</c:v>
                </c:pt>
                <c:pt idx="72">
                  <c:v>38718</c:v>
                </c:pt>
                <c:pt idx="73">
                  <c:v>38749</c:v>
                </c:pt>
                <c:pt idx="74">
                  <c:v>38777</c:v>
                </c:pt>
                <c:pt idx="75">
                  <c:v>38808</c:v>
                </c:pt>
                <c:pt idx="76">
                  <c:v>38838</c:v>
                </c:pt>
                <c:pt idx="77">
                  <c:v>38869</c:v>
                </c:pt>
                <c:pt idx="78">
                  <c:v>38899</c:v>
                </c:pt>
                <c:pt idx="79">
                  <c:v>38930</c:v>
                </c:pt>
                <c:pt idx="80">
                  <c:v>38961</c:v>
                </c:pt>
                <c:pt idx="81">
                  <c:v>38991</c:v>
                </c:pt>
                <c:pt idx="82">
                  <c:v>39022</c:v>
                </c:pt>
                <c:pt idx="83">
                  <c:v>39052</c:v>
                </c:pt>
                <c:pt idx="84">
                  <c:v>39083</c:v>
                </c:pt>
                <c:pt idx="85">
                  <c:v>39114</c:v>
                </c:pt>
                <c:pt idx="86">
                  <c:v>39142</c:v>
                </c:pt>
                <c:pt idx="87">
                  <c:v>39173</c:v>
                </c:pt>
                <c:pt idx="88">
                  <c:v>39203</c:v>
                </c:pt>
                <c:pt idx="89">
                  <c:v>39234</c:v>
                </c:pt>
                <c:pt idx="90">
                  <c:v>39264</c:v>
                </c:pt>
                <c:pt idx="91">
                  <c:v>39295</c:v>
                </c:pt>
                <c:pt idx="92">
                  <c:v>39326</c:v>
                </c:pt>
                <c:pt idx="93">
                  <c:v>39356</c:v>
                </c:pt>
                <c:pt idx="94">
                  <c:v>39387</c:v>
                </c:pt>
                <c:pt idx="95">
                  <c:v>39417</c:v>
                </c:pt>
                <c:pt idx="96">
                  <c:v>39448</c:v>
                </c:pt>
                <c:pt idx="97">
                  <c:v>39479</c:v>
                </c:pt>
                <c:pt idx="98">
                  <c:v>39508</c:v>
                </c:pt>
                <c:pt idx="99">
                  <c:v>39539</c:v>
                </c:pt>
                <c:pt idx="100">
                  <c:v>39569</c:v>
                </c:pt>
                <c:pt idx="101">
                  <c:v>39600</c:v>
                </c:pt>
                <c:pt idx="102">
                  <c:v>39630</c:v>
                </c:pt>
                <c:pt idx="103">
                  <c:v>39661</c:v>
                </c:pt>
                <c:pt idx="104">
                  <c:v>39692</c:v>
                </c:pt>
                <c:pt idx="105">
                  <c:v>39722</c:v>
                </c:pt>
                <c:pt idx="106">
                  <c:v>39753</c:v>
                </c:pt>
                <c:pt idx="107">
                  <c:v>39783</c:v>
                </c:pt>
                <c:pt idx="108">
                  <c:v>39814</c:v>
                </c:pt>
                <c:pt idx="109">
                  <c:v>39845</c:v>
                </c:pt>
                <c:pt idx="110">
                  <c:v>39873</c:v>
                </c:pt>
                <c:pt idx="111">
                  <c:v>39904</c:v>
                </c:pt>
                <c:pt idx="112">
                  <c:v>39934</c:v>
                </c:pt>
                <c:pt idx="113">
                  <c:v>39965</c:v>
                </c:pt>
                <c:pt idx="114">
                  <c:v>39995</c:v>
                </c:pt>
                <c:pt idx="115">
                  <c:v>40026</c:v>
                </c:pt>
                <c:pt idx="116">
                  <c:v>40057</c:v>
                </c:pt>
                <c:pt idx="117">
                  <c:v>40087</c:v>
                </c:pt>
                <c:pt idx="118">
                  <c:v>40118</c:v>
                </c:pt>
                <c:pt idx="119">
                  <c:v>40148</c:v>
                </c:pt>
                <c:pt idx="120">
                  <c:v>40179</c:v>
                </c:pt>
                <c:pt idx="121">
                  <c:v>40210</c:v>
                </c:pt>
                <c:pt idx="122">
                  <c:v>40238</c:v>
                </c:pt>
                <c:pt idx="123">
                  <c:v>40269</c:v>
                </c:pt>
                <c:pt idx="124">
                  <c:v>40299</c:v>
                </c:pt>
                <c:pt idx="125">
                  <c:v>40330</c:v>
                </c:pt>
                <c:pt idx="126">
                  <c:v>40360</c:v>
                </c:pt>
                <c:pt idx="127">
                  <c:v>40391</c:v>
                </c:pt>
                <c:pt idx="128">
                  <c:v>40422</c:v>
                </c:pt>
                <c:pt idx="129">
                  <c:v>40452</c:v>
                </c:pt>
                <c:pt idx="130">
                  <c:v>40483</c:v>
                </c:pt>
                <c:pt idx="131">
                  <c:v>40513</c:v>
                </c:pt>
                <c:pt idx="132">
                  <c:v>40544</c:v>
                </c:pt>
                <c:pt idx="133">
                  <c:v>40575</c:v>
                </c:pt>
                <c:pt idx="134">
                  <c:v>40603</c:v>
                </c:pt>
                <c:pt idx="135">
                  <c:v>40634</c:v>
                </c:pt>
                <c:pt idx="136">
                  <c:v>40664</c:v>
                </c:pt>
                <c:pt idx="137">
                  <c:v>40695</c:v>
                </c:pt>
                <c:pt idx="138">
                  <c:v>40725</c:v>
                </c:pt>
                <c:pt idx="139">
                  <c:v>40756</c:v>
                </c:pt>
                <c:pt idx="140">
                  <c:v>40787</c:v>
                </c:pt>
                <c:pt idx="141">
                  <c:v>40817</c:v>
                </c:pt>
                <c:pt idx="142">
                  <c:v>40848</c:v>
                </c:pt>
                <c:pt idx="143">
                  <c:v>40878</c:v>
                </c:pt>
                <c:pt idx="144">
                  <c:v>40909</c:v>
                </c:pt>
                <c:pt idx="145">
                  <c:v>40940</c:v>
                </c:pt>
                <c:pt idx="146">
                  <c:v>40969</c:v>
                </c:pt>
                <c:pt idx="147">
                  <c:v>41000</c:v>
                </c:pt>
                <c:pt idx="148">
                  <c:v>41030</c:v>
                </c:pt>
                <c:pt idx="149">
                  <c:v>41061</c:v>
                </c:pt>
                <c:pt idx="150">
                  <c:v>41091</c:v>
                </c:pt>
                <c:pt idx="151">
                  <c:v>41122</c:v>
                </c:pt>
                <c:pt idx="152">
                  <c:v>41153</c:v>
                </c:pt>
                <c:pt idx="153">
                  <c:v>41183</c:v>
                </c:pt>
                <c:pt idx="154">
                  <c:v>41214</c:v>
                </c:pt>
                <c:pt idx="155">
                  <c:v>41244</c:v>
                </c:pt>
                <c:pt idx="156">
                  <c:v>41275</c:v>
                </c:pt>
                <c:pt idx="157">
                  <c:v>41306</c:v>
                </c:pt>
                <c:pt idx="158">
                  <c:v>41334</c:v>
                </c:pt>
                <c:pt idx="159">
                  <c:v>41365</c:v>
                </c:pt>
                <c:pt idx="160">
                  <c:v>41395</c:v>
                </c:pt>
                <c:pt idx="161">
                  <c:v>41426</c:v>
                </c:pt>
                <c:pt idx="162">
                  <c:v>41456</c:v>
                </c:pt>
                <c:pt idx="163">
                  <c:v>41487</c:v>
                </c:pt>
                <c:pt idx="164">
                  <c:v>41518</c:v>
                </c:pt>
                <c:pt idx="165">
                  <c:v>41548</c:v>
                </c:pt>
                <c:pt idx="166">
                  <c:v>41579</c:v>
                </c:pt>
                <c:pt idx="167">
                  <c:v>41609</c:v>
                </c:pt>
                <c:pt idx="168">
                  <c:v>41640</c:v>
                </c:pt>
                <c:pt idx="169">
                  <c:v>41671</c:v>
                </c:pt>
                <c:pt idx="170">
                  <c:v>41699</c:v>
                </c:pt>
                <c:pt idx="171">
                  <c:v>41730</c:v>
                </c:pt>
                <c:pt idx="172">
                  <c:v>41760</c:v>
                </c:pt>
                <c:pt idx="173">
                  <c:v>41791</c:v>
                </c:pt>
                <c:pt idx="174">
                  <c:v>41821</c:v>
                </c:pt>
                <c:pt idx="175">
                  <c:v>41852</c:v>
                </c:pt>
                <c:pt idx="176">
                  <c:v>41883</c:v>
                </c:pt>
                <c:pt idx="177">
                  <c:v>41913</c:v>
                </c:pt>
                <c:pt idx="178">
                  <c:v>41944</c:v>
                </c:pt>
                <c:pt idx="179">
                  <c:v>41974</c:v>
                </c:pt>
                <c:pt idx="180">
                  <c:v>42005</c:v>
                </c:pt>
                <c:pt idx="181">
                  <c:v>42036</c:v>
                </c:pt>
                <c:pt idx="182">
                  <c:v>42064</c:v>
                </c:pt>
                <c:pt idx="183">
                  <c:v>42095</c:v>
                </c:pt>
                <c:pt idx="184">
                  <c:v>42125</c:v>
                </c:pt>
                <c:pt idx="185">
                  <c:v>42156</c:v>
                </c:pt>
                <c:pt idx="186">
                  <c:v>42186</c:v>
                </c:pt>
                <c:pt idx="187">
                  <c:v>42217</c:v>
                </c:pt>
                <c:pt idx="188">
                  <c:v>42248</c:v>
                </c:pt>
                <c:pt idx="189">
                  <c:v>42278</c:v>
                </c:pt>
                <c:pt idx="190">
                  <c:v>42309</c:v>
                </c:pt>
                <c:pt idx="191">
                  <c:v>42339</c:v>
                </c:pt>
                <c:pt idx="192">
                  <c:v>42370</c:v>
                </c:pt>
                <c:pt idx="193">
                  <c:v>42401</c:v>
                </c:pt>
                <c:pt idx="194">
                  <c:v>42430</c:v>
                </c:pt>
                <c:pt idx="195">
                  <c:v>42461</c:v>
                </c:pt>
                <c:pt idx="196">
                  <c:v>42491</c:v>
                </c:pt>
                <c:pt idx="197">
                  <c:v>42522</c:v>
                </c:pt>
                <c:pt idx="198">
                  <c:v>42552</c:v>
                </c:pt>
              </c:numCache>
            </c:numRef>
          </c:cat>
          <c:val>
            <c:numRef>
              <c:f>graficos!$I$32:$I$230</c:f>
              <c:numCache>
                <c:formatCode>General</c:formatCode>
                <c:ptCount val="199"/>
                <c:pt idx="0">
                  <c:v>34481.775935483871</c:v>
                </c:pt>
                <c:pt idx="1">
                  <c:v>33815.770689655168</c:v>
                </c:pt>
                <c:pt idx="2">
                  <c:v>35078.764545161292</c:v>
                </c:pt>
                <c:pt idx="3">
                  <c:v>35328.755010000001</c:v>
                </c:pt>
                <c:pt idx="4">
                  <c:v>35751.130609677413</c:v>
                </c:pt>
                <c:pt idx="5">
                  <c:v>36895.935236666664</c:v>
                </c:pt>
                <c:pt idx="6">
                  <c:v>36617.26079032258</c:v>
                </c:pt>
                <c:pt idx="7">
                  <c:v>35563.801483870964</c:v>
                </c:pt>
                <c:pt idx="8">
                  <c:v>37317.074439999997</c:v>
                </c:pt>
                <c:pt idx="9">
                  <c:v>37049.900709677422</c:v>
                </c:pt>
                <c:pt idx="10">
                  <c:v>38287.368853333326</c:v>
                </c:pt>
                <c:pt idx="11">
                  <c:v>39242.710800000001</c:v>
                </c:pt>
                <c:pt idx="12">
                  <c:v>37734.554838709679</c:v>
                </c:pt>
                <c:pt idx="13">
                  <c:v>38913.121428571423</c:v>
                </c:pt>
                <c:pt idx="14">
                  <c:v>38084.848387096776</c:v>
                </c:pt>
                <c:pt idx="15">
                  <c:v>37200.676666666666</c:v>
                </c:pt>
                <c:pt idx="16">
                  <c:v>37227.032258064515</c:v>
                </c:pt>
                <c:pt idx="17">
                  <c:v>37808.25</c:v>
                </c:pt>
                <c:pt idx="18">
                  <c:v>38085.061290322577</c:v>
                </c:pt>
                <c:pt idx="19">
                  <c:v>37723.325806451619</c:v>
                </c:pt>
                <c:pt idx="20">
                  <c:v>38253.333333333336</c:v>
                </c:pt>
                <c:pt idx="21">
                  <c:v>37138.467419354842</c:v>
                </c:pt>
                <c:pt idx="22">
                  <c:v>40043.161</c:v>
                </c:pt>
                <c:pt idx="23">
                  <c:v>42073.411935483869</c:v>
                </c:pt>
                <c:pt idx="24">
                  <c:v>43069.877741935481</c:v>
                </c:pt>
                <c:pt idx="25">
                  <c:v>44226.361428571436</c:v>
                </c:pt>
                <c:pt idx="26">
                  <c:v>44473.267741935488</c:v>
                </c:pt>
                <c:pt idx="27">
                  <c:v>44420.461333333325</c:v>
                </c:pt>
                <c:pt idx="28">
                  <c:v>44087.106774193548</c:v>
                </c:pt>
                <c:pt idx="29">
                  <c:v>43471.106666666667</c:v>
                </c:pt>
                <c:pt idx="30">
                  <c:v>41787.534193548388</c:v>
                </c:pt>
                <c:pt idx="31">
                  <c:v>42619.675806451611</c:v>
                </c:pt>
                <c:pt idx="32">
                  <c:v>41730.224333333332</c:v>
                </c:pt>
                <c:pt idx="33">
                  <c:v>40517.089032258067</c:v>
                </c:pt>
                <c:pt idx="34">
                  <c:v>40272.475333333336</c:v>
                </c:pt>
                <c:pt idx="35">
                  <c:v>39896.641935483865</c:v>
                </c:pt>
                <c:pt idx="36">
                  <c:v>42486.95193548387</c:v>
                </c:pt>
                <c:pt idx="37">
                  <c:v>43116.534999999996</c:v>
                </c:pt>
                <c:pt idx="38">
                  <c:v>42440.153870967741</c:v>
                </c:pt>
                <c:pt idx="39">
                  <c:v>42780.803666666659</c:v>
                </c:pt>
                <c:pt idx="40">
                  <c:v>41682.696451612901</c:v>
                </c:pt>
                <c:pt idx="41">
                  <c:v>41057.601666666669</c:v>
                </c:pt>
                <c:pt idx="42">
                  <c:v>42804.042903225811</c:v>
                </c:pt>
                <c:pt idx="43">
                  <c:v>44251.911935483869</c:v>
                </c:pt>
                <c:pt idx="44">
                  <c:v>45112.982333333333</c:v>
                </c:pt>
                <c:pt idx="45">
                  <c:v>45265.67138709678</c:v>
                </c:pt>
                <c:pt idx="46">
                  <c:v>44367.332233333334</c:v>
                </c:pt>
                <c:pt idx="47">
                  <c:v>43818.227225806455</c:v>
                </c:pt>
                <c:pt idx="48">
                  <c:v>44559.419354838712</c:v>
                </c:pt>
                <c:pt idx="49">
                  <c:v>45488.869655172413</c:v>
                </c:pt>
                <c:pt idx="50">
                  <c:v>46247.774193548386</c:v>
                </c:pt>
                <c:pt idx="51">
                  <c:v>46363.73333333333</c:v>
                </c:pt>
                <c:pt idx="52">
                  <c:v>44928.295451612903</c:v>
                </c:pt>
                <c:pt idx="53">
                  <c:v>46359.366666666669</c:v>
                </c:pt>
                <c:pt idx="54">
                  <c:v>47208.290322580644</c:v>
                </c:pt>
                <c:pt idx="55">
                  <c:v>47017.193580645166</c:v>
                </c:pt>
                <c:pt idx="56">
                  <c:v>47253.158433333338</c:v>
                </c:pt>
                <c:pt idx="57">
                  <c:v>47227.523967741938</c:v>
                </c:pt>
                <c:pt idx="58">
                  <c:v>45563.952633333342</c:v>
                </c:pt>
                <c:pt idx="59">
                  <c:v>48159.00122580646</c:v>
                </c:pt>
                <c:pt idx="60">
                  <c:v>47428.544516129026</c:v>
                </c:pt>
                <c:pt idx="61">
                  <c:v>46787.319535714283</c:v>
                </c:pt>
                <c:pt idx="62">
                  <c:v>47471.239000000001</c:v>
                </c:pt>
                <c:pt idx="63">
                  <c:v>49059.581699999995</c:v>
                </c:pt>
                <c:pt idx="64">
                  <c:v>50287.637645161289</c:v>
                </c:pt>
                <c:pt idx="65">
                  <c:v>50045.366666666669</c:v>
                </c:pt>
                <c:pt idx="66">
                  <c:v>49135.612903225803</c:v>
                </c:pt>
                <c:pt idx="67">
                  <c:v>48549.483870967742</c:v>
                </c:pt>
                <c:pt idx="68">
                  <c:v>47261.466666666667</c:v>
                </c:pt>
                <c:pt idx="69">
                  <c:v>48263.193548387098</c:v>
                </c:pt>
                <c:pt idx="70">
                  <c:v>49888.366666666669</c:v>
                </c:pt>
                <c:pt idx="71">
                  <c:v>47622.759645161292</c:v>
                </c:pt>
                <c:pt idx="72">
                  <c:v>46984.685432258062</c:v>
                </c:pt>
                <c:pt idx="73">
                  <c:v>47706.100083179554</c:v>
                </c:pt>
                <c:pt idx="74">
                  <c:v>47626.364867182019</c:v>
                </c:pt>
                <c:pt idx="75">
                  <c:v>48914.631966666668</c:v>
                </c:pt>
                <c:pt idx="76">
                  <c:v>49769.331161290327</c:v>
                </c:pt>
                <c:pt idx="77">
                  <c:v>49077.328466666666</c:v>
                </c:pt>
                <c:pt idx="78">
                  <c:v>50093.786548387092</c:v>
                </c:pt>
                <c:pt idx="79">
                  <c:v>48999.238290322581</c:v>
                </c:pt>
                <c:pt idx="80">
                  <c:v>47571.182766666665</c:v>
                </c:pt>
                <c:pt idx="81">
                  <c:v>49106.566548387098</c:v>
                </c:pt>
                <c:pt idx="82">
                  <c:v>48247.930533333332</c:v>
                </c:pt>
                <c:pt idx="83">
                  <c:v>47938.042032258061</c:v>
                </c:pt>
                <c:pt idx="84">
                  <c:v>47982.010580645161</c:v>
                </c:pt>
                <c:pt idx="85">
                  <c:v>49079.381142857135</c:v>
                </c:pt>
                <c:pt idx="86">
                  <c:v>49255.856903225816</c:v>
                </c:pt>
                <c:pt idx="87">
                  <c:v>49629.164733333331</c:v>
                </c:pt>
                <c:pt idx="88">
                  <c:v>47818.455064516122</c:v>
                </c:pt>
                <c:pt idx="89">
                  <c:v>49296.491399999992</c:v>
                </c:pt>
                <c:pt idx="90">
                  <c:v>50379.57235483871</c:v>
                </c:pt>
                <c:pt idx="91">
                  <c:v>49820.803677419353</c:v>
                </c:pt>
                <c:pt idx="92">
                  <c:v>49071.860399999998</c:v>
                </c:pt>
                <c:pt idx="93">
                  <c:v>49696.137870967745</c:v>
                </c:pt>
                <c:pt idx="94">
                  <c:v>51221.087433333341</c:v>
                </c:pt>
                <c:pt idx="95">
                  <c:v>53462.349677419348</c:v>
                </c:pt>
                <c:pt idx="96">
                  <c:v>54321.84944193549</c:v>
                </c:pt>
                <c:pt idx="97">
                  <c:v>56763.60181034483</c:v>
                </c:pt>
                <c:pt idx="98">
                  <c:v>57794.93420967742</c:v>
                </c:pt>
                <c:pt idx="99">
                  <c:v>58100.373806286269</c:v>
                </c:pt>
                <c:pt idx="100">
                  <c:v>57602.26079450579</c:v>
                </c:pt>
                <c:pt idx="101">
                  <c:v>61037.340240407066</c:v>
                </c:pt>
                <c:pt idx="102">
                  <c:v>60391.100108387101</c:v>
                </c:pt>
                <c:pt idx="103">
                  <c:v>61059.929194577628</c:v>
                </c:pt>
                <c:pt idx="104">
                  <c:v>60701.953694075812</c:v>
                </c:pt>
                <c:pt idx="105">
                  <c:v>62074.438570328646</c:v>
                </c:pt>
                <c:pt idx="106">
                  <c:v>58930.92103650279</c:v>
                </c:pt>
                <c:pt idx="107">
                  <c:v>59122.916237551828</c:v>
                </c:pt>
                <c:pt idx="108">
                  <c:v>53505.838645913413</c:v>
                </c:pt>
                <c:pt idx="109">
                  <c:v>56068.049757607158</c:v>
                </c:pt>
                <c:pt idx="110">
                  <c:v>57794.405297850317</c:v>
                </c:pt>
                <c:pt idx="111">
                  <c:v>56108.159871908676</c:v>
                </c:pt>
                <c:pt idx="112">
                  <c:v>58410.237932573669</c:v>
                </c:pt>
                <c:pt idx="113">
                  <c:v>59075.551510817349</c:v>
                </c:pt>
                <c:pt idx="114">
                  <c:v>58005.564523241927</c:v>
                </c:pt>
                <c:pt idx="115">
                  <c:v>57034.07500451614</c:v>
                </c:pt>
                <c:pt idx="116">
                  <c:v>59957.42725151113</c:v>
                </c:pt>
                <c:pt idx="117">
                  <c:v>59449.5072847392</c:v>
                </c:pt>
                <c:pt idx="118">
                  <c:v>59116.077676714012</c:v>
                </c:pt>
                <c:pt idx="119">
                  <c:v>60442.234112303799</c:v>
                </c:pt>
                <c:pt idx="120">
                  <c:v>58552.903974516128</c:v>
                </c:pt>
                <c:pt idx="121">
                  <c:v>60528.448555357136</c:v>
                </c:pt>
                <c:pt idx="122">
                  <c:v>59475.532760967748</c:v>
                </c:pt>
                <c:pt idx="123">
                  <c:v>61215.773180333344</c:v>
                </c:pt>
                <c:pt idx="124">
                  <c:v>62093.46001225806</c:v>
                </c:pt>
                <c:pt idx="125">
                  <c:v>62909.469447666663</c:v>
                </c:pt>
                <c:pt idx="126">
                  <c:v>62388.8978451613</c:v>
                </c:pt>
                <c:pt idx="127">
                  <c:v>62511.548700645166</c:v>
                </c:pt>
                <c:pt idx="128">
                  <c:v>63921.309493333334</c:v>
                </c:pt>
                <c:pt idx="129">
                  <c:v>64969.02136258065</c:v>
                </c:pt>
                <c:pt idx="130">
                  <c:v>66233.858696999989</c:v>
                </c:pt>
                <c:pt idx="131">
                  <c:v>69209.849173870971</c:v>
                </c:pt>
                <c:pt idx="132">
                  <c:v>66255.939487096781</c:v>
                </c:pt>
                <c:pt idx="133">
                  <c:v>62817.37707607144</c:v>
                </c:pt>
                <c:pt idx="134">
                  <c:v>61435.796330967729</c:v>
                </c:pt>
                <c:pt idx="135">
                  <c:v>62543.504093333329</c:v>
                </c:pt>
                <c:pt idx="136">
                  <c:v>66666.23182612902</c:v>
                </c:pt>
                <c:pt idx="137">
                  <c:v>67267.824001666668</c:v>
                </c:pt>
                <c:pt idx="138">
                  <c:v>66878.561060645166</c:v>
                </c:pt>
                <c:pt idx="139">
                  <c:v>66522.039585806458</c:v>
                </c:pt>
                <c:pt idx="140">
                  <c:v>65260.798019000002</c:v>
                </c:pt>
                <c:pt idx="141">
                  <c:v>66257.339820645167</c:v>
                </c:pt>
                <c:pt idx="142">
                  <c:v>67867.750948999994</c:v>
                </c:pt>
                <c:pt idx="143">
                  <c:v>71359.824387419372</c:v>
                </c:pt>
                <c:pt idx="144">
                  <c:v>71093.158206774198</c:v>
                </c:pt>
                <c:pt idx="145">
                  <c:v>67103.538334827579</c:v>
                </c:pt>
                <c:pt idx="146">
                  <c:v>66272.579033225804</c:v>
                </c:pt>
                <c:pt idx="147">
                  <c:v>65312.786329666662</c:v>
                </c:pt>
                <c:pt idx="148">
                  <c:v>68401.595964838707</c:v>
                </c:pt>
                <c:pt idx="149">
                  <c:v>71981.892128666659</c:v>
                </c:pt>
                <c:pt idx="150">
                  <c:v>70979.099026774187</c:v>
                </c:pt>
                <c:pt idx="151">
                  <c:v>71375.023662258056</c:v>
                </c:pt>
                <c:pt idx="152">
                  <c:v>71743.084403666668</c:v>
                </c:pt>
                <c:pt idx="153">
                  <c:v>72971.478093870974</c:v>
                </c:pt>
                <c:pt idx="154">
                  <c:v>73319.975309333327</c:v>
                </c:pt>
                <c:pt idx="155">
                  <c:v>76181.580184516133</c:v>
                </c:pt>
                <c:pt idx="156">
                  <c:v>75852.339754193541</c:v>
                </c:pt>
                <c:pt idx="157">
                  <c:v>76537.399151785721</c:v>
                </c:pt>
                <c:pt idx="158">
                  <c:v>77254.284906451605</c:v>
                </c:pt>
                <c:pt idx="159">
                  <c:v>74700.586753333351</c:v>
                </c:pt>
                <c:pt idx="160">
                  <c:v>74852.181966129036</c:v>
                </c:pt>
                <c:pt idx="161">
                  <c:v>79988.072006333343</c:v>
                </c:pt>
                <c:pt idx="162">
                  <c:v>78496.732620967741</c:v>
                </c:pt>
                <c:pt idx="163">
                  <c:v>76986.523061612912</c:v>
                </c:pt>
                <c:pt idx="164">
                  <c:v>78143.728765666659</c:v>
                </c:pt>
                <c:pt idx="165">
                  <c:v>72862.53932612903</c:v>
                </c:pt>
                <c:pt idx="166">
                  <c:v>79063.279549000014</c:v>
                </c:pt>
                <c:pt idx="167">
                  <c:v>81575.905348064523</c:v>
                </c:pt>
                <c:pt idx="168">
                  <c:v>80355.66355903224</c:v>
                </c:pt>
                <c:pt idx="169">
                  <c:v>83248.332182500002</c:v>
                </c:pt>
                <c:pt idx="170">
                  <c:v>83409.049310322574</c:v>
                </c:pt>
                <c:pt idx="171">
                  <c:v>82856.698905333338</c:v>
                </c:pt>
                <c:pt idx="172">
                  <c:v>84536.571106451622</c:v>
                </c:pt>
                <c:pt idx="173">
                  <c:v>86565.226060000001</c:v>
                </c:pt>
                <c:pt idx="174">
                  <c:v>87877.439651290319</c:v>
                </c:pt>
                <c:pt idx="175">
                  <c:v>90906.613835161275</c:v>
                </c:pt>
                <c:pt idx="176">
                  <c:v>88931.473647333347</c:v>
                </c:pt>
                <c:pt idx="177">
                  <c:v>92685.105690967757</c:v>
                </c:pt>
                <c:pt idx="178">
                  <c:v>91695.060990666665</c:v>
                </c:pt>
                <c:pt idx="179">
                  <c:v>95147.837964193546</c:v>
                </c:pt>
                <c:pt idx="180">
                  <c:v>96558.225806451606</c:v>
                </c:pt>
                <c:pt idx="181">
                  <c:v>95356.96428571429</c:v>
                </c:pt>
                <c:pt idx="182">
                  <c:v>95622.774193548394</c:v>
                </c:pt>
                <c:pt idx="183">
                  <c:v>94342.46666666666</c:v>
                </c:pt>
                <c:pt idx="184">
                  <c:v>93132.161290322576</c:v>
                </c:pt>
                <c:pt idx="185">
                  <c:v>95515.933333333334</c:v>
                </c:pt>
                <c:pt idx="186">
                  <c:v>95329.903225806454</c:v>
                </c:pt>
                <c:pt idx="187">
                  <c:v>99227.774193548394</c:v>
                </c:pt>
                <c:pt idx="188">
                  <c:v>97359.8</c:v>
                </c:pt>
                <c:pt idx="189">
                  <c:v>97606.06451612903</c:v>
                </c:pt>
                <c:pt idx="190">
                  <c:v>94191.5</c:v>
                </c:pt>
                <c:pt idx="191">
                  <c:v>100399.25806451614</c:v>
                </c:pt>
                <c:pt idx="192">
                  <c:v>97246.31235677423</c:v>
                </c:pt>
                <c:pt idx="193">
                  <c:v>97698.44809241379</c:v>
                </c:pt>
                <c:pt idx="194">
                  <c:v>90355.08155903226</c:v>
                </c:pt>
                <c:pt idx="195">
                  <c:v>95771.502146333354</c:v>
                </c:pt>
                <c:pt idx="196">
                  <c:v>99807.834045161289</c:v>
                </c:pt>
                <c:pt idx="197">
                  <c:v>103517.94319133335</c:v>
                </c:pt>
                <c:pt idx="198">
                  <c:v>107172.6554303226</c:v>
                </c:pt>
              </c:numCache>
            </c:numRef>
          </c:val>
          <c:smooth val="0"/>
        </c:ser>
        <c:ser>
          <c:idx val="1"/>
          <c:order val="1"/>
          <c:tx>
            <c:strRef>
              <c:f>graficos!$J$31</c:f>
              <c:strCache>
                <c:ptCount val="1"/>
                <c:pt idx="0">
                  <c:v>reinjeção</c:v>
                </c:pt>
              </c:strCache>
            </c:strRef>
          </c:tx>
          <c:marker>
            <c:symbol val="none"/>
          </c:marker>
          <c:cat>
            <c:numRef>
              <c:f>graficos!$B$32:$B$230</c:f>
              <c:numCache>
                <c:formatCode>mmm\-yy</c:formatCode>
                <c:ptCount val="199"/>
                <c:pt idx="0">
                  <c:v>36526</c:v>
                </c:pt>
                <c:pt idx="1">
                  <c:v>36557</c:v>
                </c:pt>
                <c:pt idx="2">
                  <c:v>36586</c:v>
                </c:pt>
                <c:pt idx="3">
                  <c:v>36617</c:v>
                </c:pt>
                <c:pt idx="4">
                  <c:v>36647</c:v>
                </c:pt>
                <c:pt idx="5">
                  <c:v>36678</c:v>
                </c:pt>
                <c:pt idx="6">
                  <c:v>36708</c:v>
                </c:pt>
                <c:pt idx="7">
                  <c:v>36739</c:v>
                </c:pt>
                <c:pt idx="8">
                  <c:v>36770</c:v>
                </c:pt>
                <c:pt idx="9">
                  <c:v>36800</c:v>
                </c:pt>
                <c:pt idx="10">
                  <c:v>36831</c:v>
                </c:pt>
                <c:pt idx="11">
                  <c:v>36861</c:v>
                </c:pt>
                <c:pt idx="12">
                  <c:v>36892</c:v>
                </c:pt>
                <c:pt idx="13">
                  <c:v>36923</c:v>
                </c:pt>
                <c:pt idx="14">
                  <c:v>36951</c:v>
                </c:pt>
                <c:pt idx="15">
                  <c:v>36982</c:v>
                </c:pt>
                <c:pt idx="16">
                  <c:v>37012</c:v>
                </c:pt>
                <c:pt idx="17">
                  <c:v>37043</c:v>
                </c:pt>
                <c:pt idx="18">
                  <c:v>37073</c:v>
                </c:pt>
                <c:pt idx="19">
                  <c:v>37104</c:v>
                </c:pt>
                <c:pt idx="20">
                  <c:v>37135</c:v>
                </c:pt>
                <c:pt idx="21">
                  <c:v>37165</c:v>
                </c:pt>
                <c:pt idx="22">
                  <c:v>37196</c:v>
                </c:pt>
                <c:pt idx="23">
                  <c:v>37226</c:v>
                </c:pt>
                <c:pt idx="24">
                  <c:v>37257</c:v>
                </c:pt>
                <c:pt idx="25">
                  <c:v>37288</c:v>
                </c:pt>
                <c:pt idx="26">
                  <c:v>37316</c:v>
                </c:pt>
                <c:pt idx="27">
                  <c:v>37347</c:v>
                </c:pt>
                <c:pt idx="28">
                  <c:v>37377</c:v>
                </c:pt>
                <c:pt idx="29">
                  <c:v>37408</c:v>
                </c:pt>
                <c:pt idx="30">
                  <c:v>37438</c:v>
                </c:pt>
                <c:pt idx="31">
                  <c:v>37469</c:v>
                </c:pt>
                <c:pt idx="32">
                  <c:v>37500</c:v>
                </c:pt>
                <c:pt idx="33">
                  <c:v>37530</c:v>
                </c:pt>
                <c:pt idx="34">
                  <c:v>37561</c:v>
                </c:pt>
                <c:pt idx="35">
                  <c:v>37591</c:v>
                </c:pt>
                <c:pt idx="36">
                  <c:v>37622</c:v>
                </c:pt>
                <c:pt idx="37">
                  <c:v>37653</c:v>
                </c:pt>
                <c:pt idx="38">
                  <c:v>37681</c:v>
                </c:pt>
                <c:pt idx="39">
                  <c:v>37712</c:v>
                </c:pt>
                <c:pt idx="40">
                  <c:v>37742</c:v>
                </c:pt>
                <c:pt idx="41">
                  <c:v>37773</c:v>
                </c:pt>
                <c:pt idx="42">
                  <c:v>37803</c:v>
                </c:pt>
                <c:pt idx="43">
                  <c:v>37834</c:v>
                </c:pt>
                <c:pt idx="44">
                  <c:v>37865</c:v>
                </c:pt>
                <c:pt idx="45">
                  <c:v>37895</c:v>
                </c:pt>
                <c:pt idx="46">
                  <c:v>37926</c:v>
                </c:pt>
                <c:pt idx="47">
                  <c:v>37956</c:v>
                </c:pt>
                <c:pt idx="48">
                  <c:v>37987</c:v>
                </c:pt>
                <c:pt idx="49">
                  <c:v>38018</c:v>
                </c:pt>
                <c:pt idx="50">
                  <c:v>38047</c:v>
                </c:pt>
                <c:pt idx="51">
                  <c:v>38078</c:v>
                </c:pt>
                <c:pt idx="52">
                  <c:v>38108</c:v>
                </c:pt>
                <c:pt idx="53">
                  <c:v>38139</c:v>
                </c:pt>
                <c:pt idx="54">
                  <c:v>38169</c:v>
                </c:pt>
                <c:pt idx="55">
                  <c:v>38200</c:v>
                </c:pt>
                <c:pt idx="56">
                  <c:v>38231</c:v>
                </c:pt>
                <c:pt idx="57">
                  <c:v>38261</c:v>
                </c:pt>
                <c:pt idx="58">
                  <c:v>38292</c:v>
                </c:pt>
                <c:pt idx="59">
                  <c:v>38322</c:v>
                </c:pt>
                <c:pt idx="60">
                  <c:v>38353</c:v>
                </c:pt>
                <c:pt idx="61">
                  <c:v>38384</c:v>
                </c:pt>
                <c:pt idx="62">
                  <c:v>38412</c:v>
                </c:pt>
                <c:pt idx="63">
                  <c:v>38443</c:v>
                </c:pt>
                <c:pt idx="64">
                  <c:v>38473</c:v>
                </c:pt>
                <c:pt idx="65">
                  <c:v>38504</c:v>
                </c:pt>
                <c:pt idx="66">
                  <c:v>38534</c:v>
                </c:pt>
                <c:pt idx="67">
                  <c:v>38565</c:v>
                </c:pt>
                <c:pt idx="68">
                  <c:v>38596</c:v>
                </c:pt>
                <c:pt idx="69">
                  <c:v>38626</c:v>
                </c:pt>
                <c:pt idx="70">
                  <c:v>38657</c:v>
                </c:pt>
                <c:pt idx="71">
                  <c:v>38687</c:v>
                </c:pt>
                <c:pt idx="72">
                  <c:v>38718</c:v>
                </c:pt>
                <c:pt idx="73">
                  <c:v>38749</c:v>
                </c:pt>
                <c:pt idx="74">
                  <c:v>38777</c:v>
                </c:pt>
                <c:pt idx="75">
                  <c:v>38808</c:v>
                </c:pt>
                <c:pt idx="76">
                  <c:v>38838</c:v>
                </c:pt>
                <c:pt idx="77">
                  <c:v>38869</c:v>
                </c:pt>
                <c:pt idx="78">
                  <c:v>38899</c:v>
                </c:pt>
                <c:pt idx="79">
                  <c:v>38930</c:v>
                </c:pt>
                <c:pt idx="80">
                  <c:v>38961</c:v>
                </c:pt>
                <c:pt idx="81">
                  <c:v>38991</c:v>
                </c:pt>
                <c:pt idx="82">
                  <c:v>39022</c:v>
                </c:pt>
                <c:pt idx="83">
                  <c:v>39052</c:v>
                </c:pt>
                <c:pt idx="84">
                  <c:v>39083</c:v>
                </c:pt>
                <c:pt idx="85">
                  <c:v>39114</c:v>
                </c:pt>
                <c:pt idx="86">
                  <c:v>39142</c:v>
                </c:pt>
                <c:pt idx="87">
                  <c:v>39173</c:v>
                </c:pt>
                <c:pt idx="88">
                  <c:v>39203</c:v>
                </c:pt>
                <c:pt idx="89">
                  <c:v>39234</c:v>
                </c:pt>
                <c:pt idx="90">
                  <c:v>39264</c:v>
                </c:pt>
                <c:pt idx="91">
                  <c:v>39295</c:v>
                </c:pt>
                <c:pt idx="92">
                  <c:v>39326</c:v>
                </c:pt>
                <c:pt idx="93">
                  <c:v>39356</c:v>
                </c:pt>
                <c:pt idx="94">
                  <c:v>39387</c:v>
                </c:pt>
                <c:pt idx="95">
                  <c:v>39417</c:v>
                </c:pt>
                <c:pt idx="96">
                  <c:v>39448</c:v>
                </c:pt>
                <c:pt idx="97">
                  <c:v>39479</c:v>
                </c:pt>
                <c:pt idx="98">
                  <c:v>39508</c:v>
                </c:pt>
                <c:pt idx="99">
                  <c:v>39539</c:v>
                </c:pt>
                <c:pt idx="100">
                  <c:v>39569</c:v>
                </c:pt>
                <c:pt idx="101">
                  <c:v>39600</c:v>
                </c:pt>
                <c:pt idx="102">
                  <c:v>39630</c:v>
                </c:pt>
                <c:pt idx="103">
                  <c:v>39661</c:v>
                </c:pt>
                <c:pt idx="104">
                  <c:v>39692</c:v>
                </c:pt>
                <c:pt idx="105">
                  <c:v>39722</c:v>
                </c:pt>
                <c:pt idx="106">
                  <c:v>39753</c:v>
                </c:pt>
                <c:pt idx="107">
                  <c:v>39783</c:v>
                </c:pt>
                <c:pt idx="108">
                  <c:v>39814</c:v>
                </c:pt>
                <c:pt idx="109">
                  <c:v>39845</c:v>
                </c:pt>
                <c:pt idx="110">
                  <c:v>39873</c:v>
                </c:pt>
                <c:pt idx="111">
                  <c:v>39904</c:v>
                </c:pt>
                <c:pt idx="112">
                  <c:v>39934</c:v>
                </c:pt>
                <c:pt idx="113">
                  <c:v>39965</c:v>
                </c:pt>
                <c:pt idx="114">
                  <c:v>39995</c:v>
                </c:pt>
                <c:pt idx="115">
                  <c:v>40026</c:v>
                </c:pt>
                <c:pt idx="116">
                  <c:v>40057</c:v>
                </c:pt>
                <c:pt idx="117">
                  <c:v>40087</c:v>
                </c:pt>
                <c:pt idx="118">
                  <c:v>40118</c:v>
                </c:pt>
                <c:pt idx="119">
                  <c:v>40148</c:v>
                </c:pt>
                <c:pt idx="120">
                  <c:v>40179</c:v>
                </c:pt>
                <c:pt idx="121">
                  <c:v>40210</c:v>
                </c:pt>
                <c:pt idx="122">
                  <c:v>40238</c:v>
                </c:pt>
                <c:pt idx="123">
                  <c:v>40269</c:v>
                </c:pt>
                <c:pt idx="124">
                  <c:v>40299</c:v>
                </c:pt>
                <c:pt idx="125">
                  <c:v>40330</c:v>
                </c:pt>
                <c:pt idx="126">
                  <c:v>40360</c:v>
                </c:pt>
                <c:pt idx="127">
                  <c:v>40391</c:v>
                </c:pt>
                <c:pt idx="128">
                  <c:v>40422</c:v>
                </c:pt>
                <c:pt idx="129">
                  <c:v>40452</c:v>
                </c:pt>
                <c:pt idx="130">
                  <c:v>40483</c:v>
                </c:pt>
                <c:pt idx="131">
                  <c:v>40513</c:v>
                </c:pt>
                <c:pt idx="132">
                  <c:v>40544</c:v>
                </c:pt>
                <c:pt idx="133">
                  <c:v>40575</c:v>
                </c:pt>
                <c:pt idx="134">
                  <c:v>40603</c:v>
                </c:pt>
                <c:pt idx="135">
                  <c:v>40634</c:v>
                </c:pt>
                <c:pt idx="136">
                  <c:v>40664</c:v>
                </c:pt>
                <c:pt idx="137">
                  <c:v>40695</c:v>
                </c:pt>
                <c:pt idx="138">
                  <c:v>40725</c:v>
                </c:pt>
                <c:pt idx="139">
                  <c:v>40756</c:v>
                </c:pt>
                <c:pt idx="140">
                  <c:v>40787</c:v>
                </c:pt>
                <c:pt idx="141">
                  <c:v>40817</c:v>
                </c:pt>
                <c:pt idx="142">
                  <c:v>40848</c:v>
                </c:pt>
                <c:pt idx="143">
                  <c:v>40878</c:v>
                </c:pt>
                <c:pt idx="144">
                  <c:v>40909</c:v>
                </c:pt>
                <c:pt idx="145">
                  <c:v>40940</c:v>
                </c:pt>
                <c:pt idx="146">
                  <c:v>40969</c:v>
                </c:pt>
                <c:pt idx="147">
                  <c:v>41000</c:v>
                </c:pt>
                <c:pt idx="148">
                  <c:v>41030</c:v>
                </c:pt>
                <c:pt idx="149">
                  <c:v>41061</c:v>
                </c:pt>
                <c:pt idx="150">
                  <c:v>41091</c:v>
                </c:pt>
                <c:pt idx="151">
                  <c:v>41122</c:v>
                </c:pt>
                <c:pt idx="152">
                  <c:v>41153</c:v>
                </c:pt>
                <c:pt idx="153">
                  <c:v>41183</c:v>
                </c:pt>
                <c:pt idx="154">
                  <c:v>41214</c:v>
                </c:pt>
                <c:pt idx="155">
                  <c:v>41244</c:v>
                </c:pt>
                <c:pt idx="156">
                  <c:v>41275</c:v>
                </c:pt>
                <c:pt idx="157">
                  <c:v>41306</c:v>
                </c:pt>
                <c:pt idx="158">
                  <c:v>41334</c:v>
                </c:pt>
                <c:pt idx="159">
                  <c:v>41365</c:v>
                </c:pt>
                <c:pt idx="160">
                  <c:v>41395</c:v>
                </c:pt>
                <c:pt idx="161">
                  <c:v>41426</c:v>
                </c:pt>
                <c:pt idx="162">
                  <c:v>41456</c:v>
                </c:pt>
                <c:pt idx="163">
                  <c:v>41487</c:v>
                </c:pt>
                <c:pt idx="164">
                  <c:v>41518</c:v>
                </c:pt>
                <c:pt idx="165">
                  <c:v>41548</c:v>
                </c:pt>
                <c:pt idx="166">
                  <c:v>41579</c:v>
                </c:pt>
                <c:pt idx="167">
                  <c:v>41609</c:v>
                </c:pt>
                <c:pt idx="168">
                  <c:v>41640</c:v>
                </c:pt>
                <c:pt idx="169">
                  <c:v>41671</c:v>
                </c:pt>
                <c:pt idx="170">
                  <c:v>41699</c:v>
                </c:pt>
                <c:pt idx="171">
                  <c:v>41730</c:v>
                </c:pt>
                <c:pt idx="172">
                  <c:v>41760</c:v>
                </c:pt>
                <c:pt idx="173">
                  <c:v>41791</c:v>
                </c:pt>
                <c:pt idx="174">
                  <c:v>41821</c:v>
                </c:pt>
                <c:pt idx="175">
                  <c:v>41852</c:v>
                </c:pt>
                <c:pt idx="176">
                  <c:v>41883</c:v>
                </c:pt>
                <c:pt idx="177">
                  <c:v>41913</c:v>
                </c:pt>
                <c:pt idx="178">
                  <c:v>41944</c:v>
                </c:pt>
                <c:pt idx="179">
                  <c:v>41974</c:v>
                </c:pt>
                <c:pt idx="180">
                  <c:v>42005</c:v>
                </c:pt>
                <c:pt idx="181">
                  <c:v>42036</c:v>
                </c:pt>
                <c:pt idx="182">
                  <c:v>42064</c:v>
                </c:pt>
                <c:pt idx="183">
                  <c:v>42095</c:v>
                </c:pt>
                <c:pt idx="184">
                  <c:v>42125</c:v>
                </c:pt>
                <c:pt idx="185">
                  <c:v>42156</c:v>
                </c:pt>
                <c:pt idx="186">
                  <c:v>42186</c:v>
                </c:pt>
                <c:pt idx="187">
                  <c:v>42217</c:v>
                </c:pt>
                <c:pt idx="188">
                  <c:v>42248</c:v>
                </c:pt>
                <c:pt idx="189">
                  <c:v>42278</c:v>
                </c:pt>
                <c:pt idx="190">
                  <c:v>42309</c:v>
                </c:pt>
                <c:pt idx="191">
                  <c:v>42339</c:v>
                </c:pt>
                <c:pt idx="192">
                  <c:v>42370</c:v>
                </c:pt>
                <c:pt idx="193">
                  <c:v>42401</c:v>
                </c:pt>
                <c:pt idx="194">
                  <c:v>42430</c:v>
                </c:pt>
                <c:pt idx="195">
                  <c:v>42461</c:v>
                </c:pt>
                <c:pt idx="196">
                  <c:v>42491</c:v>
                </c:pt>
                <c:pt idx="197">
                  <c:v>42522</c:v>
                </c:pt>
                <c:pt idx="198">
                  <c:v>42552</c:v>
                </c:pt>
              </c:numCache>
            </c:numRef>
          </c:cat>
          <c:val>
            <c:numRef>
              <c:f>graficos!$J$32:$J$230</c:f>
              <c:numCache>
                <c:formatCode>General</c:formatCode>
                <c:ptCount val="199"/>
                <c:pt idx="0">
                  <c:v>5504.6629677419351</c:v>
                </c:pt>
                <c:pt idx="1">
                  <c:v>6892.128137931034</c:v>
                </c:pt>
                <c:pt idx="2">
                  <c:v>7485.3207064516118</c:v>
                </c:pt>
                <c:pt idx="3">
                  <c:v>7565.3702966666669</c:v>
                </c:pt>
                <c:pt idx="4">
                  <c:v>7296.8539677419358</c:v>
                </c:pt>
                <c:pt idx="5">
                  <c:v>7714.3658499999992</c:v>
                </c:pt>
                <c:pt idx="6">
                  <c:v>7569.0503419354836</c:v>
                </c:pt>
                <c:pt idx="7">
                  <c:v>7177.585051612903</c:v>
                </c:pt>
                <c:pt idx="8">
                  <c:v>7545.5679233333331</c:v>
                </c:pt>
                <c:pt idx="9">
                  <c:v>8308.6261225806447</c:v>
                </c:pt>
                <c:pt idx="10">
                  <c:v>8265.5467399999998</c:v>
                </c:pt>
                <c:pt idx="11">
                  <c:v>8140.8578838709691</c:v>
                </c:pt>
                <c:pt idx="12">
                  <c:v>8373.859351612904</c:v>
                </c:pt>
                <c:pt idx="13">
                  <c:v>7976.9553464285709</c:v>
                </c:pt>
                <c:pt idx="14">
                  <c:v>8324.2157999999999</c:v>
                </c:pt>
                <c:pt idx="15">
                  <c:v>7892.2168233333341</c:v>
                </c:pt>
                <c:pt idx="16">
                  <c:v>8238.3471032258076</c:v>
                </c:pt>
                <c:pt idx="17">
                  <c:v>8432.3067333333347</c:v>
                </c:pt>
                <c:pt idx="18">
                  <c:v>7838.0677419354852</c:v>
                </c:pt>
                <c:pt idx="19">
                  <c:v>8265.7007741935486</c:v>
                </c:pt>
                <c:pt idx="20">
                  <c:v>8788.0461333333315</c:v>
                </c:pt>
                <c:pt idx="21">
                  <c:v>8408.4719000000005</c:v>
                </c:pt>
                <c:pt idx="22">
                  <c:v>8554.3003666666664</c:v>
                </c:pt>
                <c:pt idx="23">
                  <c:v>8423.30464516129</c:v>
                </c:pt>
                <c:pt idx="24">
                  <c:v>9428.5240645161302</c:v>
                </c:pt>
                <c:pt idx="25">
                  <c:v>9556.4521428571443</c:v>
                </c:pt>
                <c:pt idx="26">
                  <c:v>9706.5338709677417</c:v>
                </c:pt>
                <c:pt idx="27">
                  <c:v>9321.4260000000013</c:v>
                </c:pt>
                <c:pt idx="28">
                  <c:v>9363.5329032258069</c:v>
                </c:pt>
                <c:pt idx="29">
                  <c:v>9834.1816666666673</c:v>
                </c:pt>
                <c:pt idx="30">
                  <c:v>9574.5558064516117</c:v>
                </c:pt>
                <c:pt idx="31">
                  <c:v>9630.4303225806452</c:v>
                </c:pt>
                <c:pt idx="32">
                  <c:v>9338.993666666669</c:v>
                </c:pt>
                <c:pt idx="33">
                  <c:v>8549.7677419354841</c:v>
                </c:pt>
                <c:pt idx="34">
                  <c:v>8608.846333333333</c:v>
                </c:pt>
                <c:pt idx="35">
                  <c:v>8344.0403225806458</c:v>
                </c:pt>
                <c:pt idx="36">
                  <c:v>8665.5483870967746</c:v>
                </c:pt>
                <c:pt idx="37">
                  <c:v>8450.1314285714288</c:v>
                </c:pt>
                <c:pt idx="38">
                  <c:v>8813.1641935483858</c:v>
                </c:pt>
                <c:pt idx="39">
                  <c:v>8589.344000000001</c:v>
                </c:pt>
                <c:pt idx="40">
                  <c:v>8177.6929032258067</c:v>
                </c:pt>
                <c:pt idx="41">
                  <c:v>8377.766333333333</c:v>
                </c:pt>
                <c:pt idx="42">
                  <c:v>8597.62612903226</c:v>
                </c:pt>
                <c:pt idx="43">
                  <c:v>9094.9354838709678</c:v>
                </c:pt>
                <c:pt idx="44">
                  <c:v>10435.166666666666</c:v>
                </c:pt>
                <c:pt idx="45">
                  <c:v>9971.5161290322576</c:v>
                </c:pt>
                <c:pt idx="46">
                  <c:v>9749.4136666666654</c:v>
                </c:pt>
                <c:pt idx="47">
                  <c:v>9255.7919354838705</c:v>
                </c:pt>
                <c:pt idx="48">
                  <c:v>9443.3470967741923</c:v>
                </c:pt>
                <c:pt idx="49">
                  <c:v>10162.341420689654</c:v>
                </c:pt>
                <c:pt idx="50">
                  <c:v>9877.3028064516129</c:v>
                </c:pt>
                <c:pt idx="51">
                  <c:v>10051.317763333331</c:v>
                </c:pt>
                <c:pt idx="52">
                  <c:v>10147.653135483872</c:v>
                </c:pt>
                <c:pt idx="53">
                  <c:v>9905.0452299999997</c:v>
                </c:pt>
                <c:pt idx="54">
                  <c:v>10364.014806451614</c:v>
                </c:pt>
                <c:pt idx="55">
                  <c:v>10441.990709677419</c:v>
                </c:pt>
                <c:pt idx="56">
                  <c:v>9464.7471000000005</c:v>
                </c:pt>
                <c:pt idx="57">
                  <c:v>9186.2970612903227</c:v>
                </c:pt>
                <c:pt idx="58">
                  <c:v>9509.8333333333339</c:v>
                </c:pt>
                <c:pt idx="59">
                  <c:v>10009.029612903227</c:v>
                </c:pt>
                <c:pt idx="60">
                  <c:v>10904.251774193548</c:v>
                </c:pt>
                <c:pt idx="61">
                  <c:v>9612.5794714285712</c:v>
                </c:pt>
                <c:pt idx="62">
                  <c:v>6979.6862290322579</c:v>
                </c:pt>
                <c:pt idx="63">
                  <c:v>8239.5712666666659</c:v>
                </c:pt>
                <c:pt idx="64">
                  <c:v>7465.2745516129035</c:v>
                </c:pt>
                <c:pt idx="65">
                  <c:v>7872.3657033333329</c:v>
                </c:pt>
                <c:pt idx="66">
                  <c:v>7961.7741935483873</c:v>
                </c:pt>
                <c:pt idx="67">
                  <c:v>7871.4516129032254</c:v>
                </c:pt>
                <c:pt idx="68">
                  <c:v>8217.2000000000007</c:v>
                </c:pt>
                <c:pt idx="69">
                  <c:v>8723.6129032258068</c:v>
                </c:pt>
                <c:pt idx="70">
                  <c:v>6537.8</c:v>
                </c:pt>
                <c:pt idx="71">
                  <c:v>7851.9354838709678</c:v>
                </c:pt>
                <c:pt idx="72">
                  <c:v>8175.6248677419344</c:v>
                </c:pt>
                <c:pt idx="73">
                  <c:v>7852.6398964285718</c:v>
                </c:pt>
                <c:pt idx="74">
                  <c:v>8893.201709677418</c:v>
                </c:pt>
                <c:pt idx="75">
                  <c:v>9622.4454333333342</c:v>
                </c:pt>
                <c:pt idx="76">
                  <c:v>8770.9051935483858</c:v>
                </c:pt>
                <c:pt idx="77">
                  <c:v>8661.9098999999987</c:v>
                </c:pt>
                <c:pt idx="78">
                  <c:v>8733.0781580645162</c:v>
                </c:pt>
                <c:pt idx="79">
                  <c:v>8792.534970967743</c:v>
                </c:pt>
                <c:pt idx="80">
                  <c:v>7927.7073966666667</c:v>
                </c:pt>
                <c:pt idx="81">
                  <c:v>9218.0336774193565</c:v>
                </c:pt>
                <c:pt idx="82">
                  <c:v>9087.3475299999991</c:v>
                </c:pt>
                <c:pt idx="83">
                  <c:v>8418.9901612903213</c:v>
                </c:pt>
                <c:pt idx="84">
                  <c:v>8916.2378064516124</c:v>
                </c:pt>
                <c:pt idx="85">
                  <c:v>9300.2160357142857</c:v>
                </c:pt>
                <c:pt idx="86">
                  <c:v>9496.5754516129018</c:v>
                </c:pt>
                <c:pt idx="87">
                  <c:v>10199.949696666667</c:v>
                </c:pt>
                <c:pt idx="88">
                  <c:v>9556.5372290322575</c:v>
                </c:pt>
                <c:pt idx="89">
                  <c:v>10013.641506666669</c:v>
                </c:pt>
                <c:pt idx="90">
                  <c:v>9814.6278741935475</c:v>
                </c:pt>
                <c:pt idx="91">
                  <c:v>9594.1764516129042</c:v>
                </c:pt>
                <c:pt idx="92">
                  <c:v>9211.2469666666657</c:v>
                </c:pt>
                <c:pt idx="93">
                  <c:v>9096.1273193548368</c:v>
                </c:pt>
                <c:pt idx="94">
                  <c:v>10068.552863333334</c:v>
                </c:pt>
                <c:pt idx="95">
                  <c:v>9625.6729709677402</c:v>
                </c:pt>
                <c:pt idx="96">
                  <c:v>9769.9313193548387</c:v>
                </c:pt>
                <c:pt idx="97">
                  <c:v>9938.4558655172423</c:v>
                </c:pt>
                <c:pt idx="98">
                  <c:v>10240.592741935483</c:v>
                </c:pt>
                <c:pt idx="99">
                  <c:v>10699.370966666665</c:v>
                </c:pt>
                <c:pt idx="100">
                  <c:v>10218.02448387097</c:v>
                </c:pt>
                <c:pt idx="101">
                  <c:v>11004.762133333332</c:v>
                </c:pt>
                <c:pt idx="102">
                  <c:v>10877.84493548387</c:v>
                </c:pt>
                <c:pt idx="103">
                  <c:v>11010.987645161289</c:v>
                </c:pt>
                <c:pt idx="104">
                  <c:v>10415.265566666667</c:v>
                </c:pt>
                <c:pt idx="105">
                  <c:v>10305.86129032258</c:v>
                </c:pt>
                <c:pt idx="106">
                  <c:v>11450.287200000001</c:v>
                </c:pt>
                <c:pt idx="107">
                  <c:v>11732.997903225809</c:v>
                </c:pt>
                <c:pt idx="108">
                  <c:v>12255.225419354838</c:v>
                </c:pt>
                <c:pt idx="109">
                  <c:v>12107.970428571429</c:v>
                </c:pt>
                <c:pt idx="110">
                  <c:v>11380.199967741934</c:v>
                </c:pt>
                <c:pt idx="111">
                  <c:v>11405.525666666666</c:v>
                </c:pt>
                <c:pt idx="112">
                  <c:v>11342.109838709679</c:v>
                </c:pt>
                <c:pt idx="113">
                  <c:v>11999.971699999998</c:v>
                </c:pt>
                <c:pt idx="114">
                  <c:v>11678.402709677419</c:v>
                </c:pt>
                <c:pt idx="115">
                  <c:v>12281.630548387098</c:v>
                </c:pt>
                <c:pt idx="116">
                  <c:v>11908.695066666667</c:v>
                </c:pt>
                <c:pt idx="117">
                  <c:v>11849.170419354839</c:v>
                </c:pt>
                <c:pt idx="118">
                  <c:v>12180.330633333333</c:v>
                </c:pt>
                <c:pt idx="119">
                  <c:v>12679.015096774196</c:v>
                </c:pt>
                <c:pt idx="120">
                  <c:v>12779.614129032259</c:v>
                </c:pt>
                <c:pt idx="121">
                  <c:v>11661.727285714287</c:v>
                </c:pt>
                <c:pt idx="122">
                  <c:v>12512.044645161292</c:v>
                </c:pt>
                <c:pt idx="123">
                  <c:v>12518.4452</c:v>
                </c:pt>
                <c:pt idx="124">
                  <c:v>12351.622336774197</c:v>
                </c:pt>
                <c:pt idx="125">
                  <c:v>12475.909166666666</c:v>
                </c:pt>
                <c:pt idx="126">
                  <c:v>18904.869096774193</c:v>
                </c:pt>
                <c:pt idx="127">
                  <c:v>12245.701129032257</c:v>
                </c:pt>
                <c:pt idx="128">
                  <c:v>11239.104333333331</c:v>
                </c:pt>
                <c:pt idx="129">
                  <c:v>11111.181451612903</c:v>
                </c:pt>
                <c:pt idx="130">
                  <c:v>10311.951866666668</c:v>
                </c:pt>
                <c:pt idx="131">
                  <c:v>12014.296667419352</c:v>
                </c:pt>
                <c:pt idx="132">
                  <c:v>12006.029447096773</c:v>
                </c:pt>
                <c:pt idx="133">
                  <c:v>12245.44435142857</c:v>
                </c:pt>
                <c:pt idx="134">
                  <c:v>11315.793202258064</c:v>
                </c:pt>
                <c:pt idx="135">
                  <c:v>12128.557204333332</c:v>
                </c:pt>
                <c:pt idx="136">
                  <c:v>12283.766900967745</c:v>
                </c:pt>
                <c:pt idx="137">
                  <c:v>11828.318228333334</c:v>
                </c:pt>
                <c:pt idx="138">
                  <c:v>11151.597151290323</c:v>
                </c:pt>
                <c:pt idx="139">
                  <c:v>10362.704028064516</c:v>
                </c:pt>
                <c:pt idx="140">
                  <c:v>9381.3427936666667</c:v>
                </c:pt>
                <c:pt idx="141">
                  <c:v>9685.3896041935495</c:v>
                </c:pt>
                <c:pt idx="142">
                  <c:v>9861.3679546666663</c:v>
                </c:pt>
                <c:pt idx="143">
                  <c:v>10577.670832258065</c:v>
                </c:pt>
                <c:pt idx="144">
                  <c:v>11256.27612064516</c:v>
                </c:pt>
                <c:pt idx="145">
                  <c:v>10254.139987586208</c:v>
                </c:pt>
                <c:pt idx="146">
                  <c:v>10594.722626774195</c:v>
                </c:pt>
                <c:pt idx="147">
                  <c:v>8889.6725870000009</c:v>
                </c:pt>
                <c:pt idx="148">
                  <c:v>10234.019056129035</c:v>
                </c:pt>
                <c:pt idx="149">
                  <c:v>10320.522716333335</c:v>
                </c:pt>
                <c:pt idx="150">
                  <c:v>9884.3544825806475</c:v>
                </c:pt>
                <c:pt idx="151">
                  <c:v>9896.4119225806444</c:v>
                </c:pt>
                <c:pt idx="152">
                  <c:v>9150.7134209999986</c:v>
                </c:pt>
                <c:pt idx="153">
                  <c:v>8972.1257974193559</c:v>
                </c:pt>
                <c:pt idx="154">
                  <c:v>7687.5169656666667</c:v>
                </c:pt>
                <c:pt idx="155">
                  <c:v>8965.6461548387106</c:v>
                </c:pt>
                <c:pt idx="156">
                  <c:v>9476.4781525806447</c:v>
                </c:pt>
                <c:pt idx="157">
                  <c:v>9044.8020403571427</c:v>
                </c:pt>
                <c:pt idx="158">
                  <c:v>8822.7581619354842</c:v>
                </c:pt>
                <c:pt idx="159">
                  <c:v>9079.4758999999995</c:v>
                </c:pt>
                <c:pt idx="160">
                  <c:v>9320.7513219354842</c:v>
                </c:pt>
                <c:pt idx="161">
                  <c:v>10176.759302666665</c:v>
                </c:pt>
                <c:pt idx="162">
                  <c:v>10905.494640645162</c:v>
                </c:pt>
                <c:pt idx="163">
                  <c:v>10734.429598709678</c:v>
                </c:pt>
                <c:pt idx="164">
                  <c:v>11286.938159666666</c:v>
                </c:pt>
                <c:pt idx="165">
                  <c:v>12457.627061290323</c:v>
                </c:pt>
                <c:pt idx="166">
                  <c:v>12723.937399666667</c:v>
                </c:pt>
                <c:pt idx="167">
                  <c:v>13499.768701290322</c:v>
                </c:pt>
                <c:pt idx="168">
                  <c:v>13731.040030322582</c:v>
                </c:pt>
                <c:pt idx="169">
                  <c:v>14649.822692142858</c:v>
                </c:pt>
                <c:pt idx="170">
                  <c:v>14978.516560645159</c:v>
                </c:pt>
                <c:pt idx="171">
                  <c:v>15233.398257000001</c:v>
                </c:pt>
                <c:pt idx="172">
                  <c:v>15880.680599677422</c:v>
                </c:pt>
                <c:pt idx="173">
                  <c:v>15505.50483966667</c:v>
                </c:pt>
                <c:pt idx="174">
                  <c:v>14549.740968387097</c:v>
                </c:pt>
                <c:pt idx="175">
                  <c:v>15345.482190322582</c:v>
                </c:pt>
                <c:pt idx="176">
                  <c:v>15886.702435333335</c:v>
                </c:pt>
                <c:pt idx="177">
                  <c:v>16728.752988709679</c:v>
                </c:pt>
                <c:pt idx="178">
                  <c:v>16743.455083333331</c:v>
                </c:pt>
                <c:pt idx="179">
                  <c:v>19380.067118709681</c:v>
                </c:pt>
                <c:pt idx="180">
                  <c:v>20722.225806451614</c:v>
                </c:pt>
                <c:pt idx="181">
                  <c:v>20734.5</c:v>
                </c:pt>
                <c:pt idx="182">
                  <c:v>21869.322580645163</c:v>
                </c:pt>
                <c:pt idx="183">
                  <c:v>23885.3</c:v>
                </c:pt>
                <c:pt idx="184">
                  <c:v>23172.258064516129</c:v>
                </c:pt>
                <c:pt idx="185">
                  <c:v>22987.366666666665</c:v>
                </c:pt>
                <c:pt idx="186">
                  <c:v>23836.645161290322</c:v>
                </c:pt>
                <c:pt idx="187">
                  <c:v>24938.709677419356</c:v>
                </c:pt>
                <c:pt idx="188">
                  <c:v>24857.166666666668</c:v>
                </c:pt>
                <c:pt idx="189">
                  <c:v>25396.967741935485</c:v>
                </c:pt>
                <c:pt idx="190">
                  <c:v>29915.666666666668</c:v>
                </c:pt>
                <c:pt idx="191">
                  <c:v>28992.387096774193</c:v>
                </c:pt>
                <c:pt idx="192">
                  <c:v>30429.190068709679</c:v>
                </c:pt>
                <c:pt idx="193">
                  <c:v>29355.879991034479</c:v>
                </c:pt>
                <c:pt idx="194">
                  <c:v>28350.526217419359</c:v>
                </c:pt>
                <c:pt idx="195">
                  <c:v>27461.592505333338</c:v>
                </c:pt>
                <c:pt idx="196">
                  <c:v>27976.12657387097</c:v>
                </c:pt>
                <c:pt idx="197">
                  <c:v>31874.930429333337</c:v>
                </c:pt>
                <c:pt idx="198">
                  <c:v>35243.272112580649</c:v>
                </c:pt>
              </c:numCache>
            </c:numRef>
          </c:val>
          <c:smooth val="0"/>
        </c:ser>
        <c:ser>
          <c:idx val="2"/>
          <c:order val="2"/>
          <c:tx>
            <c:v>Disponibilização</c:v>
          </c:tx>
          <c:marker>
            <c:symbol val="none"/>
          </c:marker>
          <c:cat>
            <c:numRef>
              <c:f>graficos!$B$32:$B$230</c:f>
              <c:numCache>
                <c:formatCode>mmm\-yy</c:formatCode>
                <c:ptCount val="199"/>
                <c:pt idx="0">
                  <c:v>36526</c:v>
                </c:pt>
                <c:pt idx="1">
                  <c:v>36557</c:v>
                </c:pt>
                <c:pt idx="2">
                  <c:v>36586</c:v>
                </c:pt>
                <c:pt idx="3">
                  <c:v>36617</c:v>
                </c:pt>
                <c:pt idx="4">
                  <c:v>36647</c:v>
                </c:pt>
                <c:pt idx="5">
                  <c:v>36678</c:v>
                </c:pt>
                <c:pt idx="6">
                  <c:v>36708</c:v>
                </c:pt>
                <c:pt idx="7">
                  <c:v>36739</c:v>
                </c:pt>
                <c:pt idx="8">
                  <c:v>36770</c:v>
                </c:pt>
                <c:pt idx="9">
                  <c:v>36800</c:v>
                </c:pt>
                <c:pt idx="10">
                  <c:v>36831</c:v>
                </c:pt>
                <c:pt idx="11">
                  <c:v>36861</c:v>
                </c:pt>
                <c:pt idx="12">
                  <c:v>36892</c:v>
                </c:pt>
                <c:pt idx="13">
                  <c:v>36923</c:v>
                </c:pt>
                <c:pt idx="14">
                  <c:v>36951</c:v>
                </c:pt>
                <c:pt idx="15">
                  <c:v>36982</c:v>
                </c:pt>
                <c:pt idx="16">
                  <c:v>37012</c:v>
                </c:pt>
                <c:pt idx="17">
                  <c:v>37043</c:v>
                </c:pt>
                <c:pt idx="18">
                  <c:v>37073</c:v>
                </c:pt>
                <c:pt idx="19">
                  <c:v>37104</c:v>
                </c:pt>
                <c:pt idx="20">
                  <c:v>37135</c:v>
                </c:pt>
                <c:pt idx="21">
                  <c:v>37165</c:v>
                </c:pt>
                <c:pt idx="22">
                  <c:v>37196</c:v>
                </c:pt>
                <c:pt idx="23">
                  <c:v>37226</c:v>
                </c:pt>
                <c:pt idx="24">
                  <c:v>37257</c:v>
                </c:pt>
                <c:pt idx="25">
                  <c:v>37288</c:v>
                </c:pt>
                <c:pt idx="26">
                  <c:v>37316</c:v>
                </c:pt>
                <c:pt idx="27">
                  <c:v>37347</c:v>
                </c:pt>
                <c:pt idx="28">
                  <c:v>37377</c:v>
                </c:pt>
                <c:pt idx="29">
                  <c:v>37408</c:v>
                </c:pt>
                <c:pt idx="30">
                  <c:v>37438</c:v>
                </c:pt>
                <c:pt idx="31">
                  <c:v>37469</c:v>
                </c:pt>
                <c:pt idx="32">
                  <c:v>37500</c:v>
                </c:pt>
                <c:pt idx="33">
                  <c:v>37530</c:v>
                </c:pt>
                <c:pt idx="34">
                  <c:v>37561</c:v>
                </c:pt>
                <c:pt idx="35">
                  <c:v>37591</c:v>
                </c:pt>
                <c:pt idx="36">
                  <c:v>37622</c:v>
                </c:pt>
                <c:pt idx="37">
                  <c:v>37653</c:v>
                </c:pt>
                <c:pt idx="38">
                  <c:v>37681</c:v>
                </c:pt>
                <c:pt idx="39">
                  <c:v>37712</c:v>
                </c:pt>
                <c:pt idx="40">
                  <c:v>37742</c:v>
                </c:pt>
                <c:pt idx="41">
                  <c:v>37773</c:v>
                </c:pt>
                <c:pt idx="42">
                  <c:v>37803</c:v>
                </c:pt>
                <c:pt idx="43">
                  <c:v>37834</c:v>
                </c:pt>
                <c:pt idx="44">
                  <c:v>37865</c:v>
                </c:pt>
                <c:pt idx="45">
                  <c:v>37895</c:v>
                </c:pt>
                <c:pt idx="46">
                  <c:v>37926</c:v>
                </c:pt>
                <c:pt idx="47">
                  <c:v>37956</c:v>
                </c:pt>
                <c:pt idx="48">
                  <c:v>37987</c:v>
                </c:pt>
                <c:pt idx="49">
                  <c:v>38018</c:v>
                </c:pt>
                <c:pt idx="50">
                  <c:v>38047</c:v>
                </c:pt>
                <c:pt idx="51">
                  <c:v>38078</c:v>
                </c:pt>
                <c:pt idx="52">
                  <c:v>38108</c:v>
                </c:pt>
                <c:pt idx="53">
                  <c:v>38139</c:v>
                </c:pt>
                <c:pt idx="54">
                  <c:v>38169</c:v>
                </c:pt>
                <c:pt idx="55">
                  <c:v>38200</c:v>
                </c:pt>
                <c:pt idx="56">
                  <c:v>38231</c:v>
                </c:pt>
                <c:pt idx="57">
                  <c:v>38261</c:v>
                </c:pt>
                <c:pt idx="58">
                  <c:v>38292</c:v>
                </c:pt>
                <c:pt idx="59">
                  <c:v>38322</c:v>
                </c:pt>
                <c:pt idx="60">
                  <c:v>38353</c:v>
                </c:pt>
                <c:pt idx="61">
                  <c:v>38384</c:v>
                </c:pt>
                <c:pt idx="62">
                  <c:v>38412</c:v>
                </c:pt>
                <c:pt idx="63">
                  <c:v>38443</c:v>
                </c:pt>
                <c:pt idx="64">
                  <c:v>38473</c:v>
                </c:pt>
                <c:pt idx="65">
                  <c:v>38504</c:v>
                </c:pt>
                <c:pt idx="66">
                  <c:v>38534</c:v>
                </c:pt>
                <c:pt idx="67">
                  <c:v>38565</c:v>
                </c:pt>
                <c:pt idx="68">
                  <c:v>38596</c:v>
                </c:pt>
                <c:pt idx="69">
                  <c:v>38626</c:v>
                </c:pt>
                <c:pt idx="70">
                  <c:v>38657</c:v>
                </c:pt>
                <c:pt idx="71">
                  <c:v>38687</c:v>
                </c:pt>
                <c:pt idx="72">
                  <c:v>38718</c:v>
                </c:pt>
                <c:pt idx="73">
                  <c:v>38749</c:v>
                </c:pt>
                <c:pt idx="74">
                  <c:v>38777</c:v>
                </c:pt>
                <c:pt idx="75">
                  <c:v>38808</c:v>
                </c:pt>
                <c:pt idx="76">
                  <c:v>38838</c:v>
                </c:pt>
                <c:pt idx="77">
                  <c:v>38869</c:v>
                </c:pt>
                <c:pt idx="78">
                  <c:v>38899</c:v>
                </c:pt>
                <c:pt idx="79">
                  <c:v>38930</c:v>
                </c:pt>
                <c:pt idx="80">
                  <c:v>38961</c:v>
                </c:pt>
                <c:pt idx="81">
                  <c:v>38991</c:v>
                </c:pt>
                <c:pt idx="82">
                  <c:v>39022</c:v>
                </c:pt>
                <c:pt idx="83">
                  <c:v>39052</c:v>
                </c:pt>
                <c:pt idx="84">
                  <c:v>39083</c:v>
                </c:pt>
                <c:pt idx="85">
                  <c:v>39114</c:v>
                </c:pt>
                <c:pt idx="86">
                  <c:v>39142</c:v>
                </c:pt>
                <c:pt idx="87">
                  <c:v>39173</c:v>
                </c:pt>
                <c:pt idx="88">
                  <c:v>39203</c:v>
                </c:pt>
                <c:pt idx="89">
                  <c:v>39234</c:v>
                </c:pt>
                <c:pt idx="90">
                  <c:v>39264</c:v>
                </c:pt>
                <c:pt idx="91">
                  <c:v>39295</c:v>
                </c:pt>
                <c:pt idx="92">
                  <c:v>39326</c:v>
                </c:pt>
                <c:pt idx="93">
                  <c:v>39356</c:v>
                </c:pt>
                <c:pt idx="94">
                  <c:v>39387</c:v>
                </c:pt>
                <c:pt idx="95">
                  <c:v>39417</c:v>
                </c:pt>
                <c:pt idx="96">
                  <c:v>39448</c:v>
                </c:pt>
                <c:pt idx="97">
                  <c:v>39479</c:v>
                </c:pt>
                <c:pt idx="98">
                  <c:v>39508</c:v>
                </c:pt>
                <c:pt idx="99">
                  <c:v>39539</c:v>
                </c:pt>
                <c:pt idx="100">
                  <c:v>39569</c:v>
                </c:pt>
                <c:pt idx="101">
                  <c:v>39600</c:v>
                </c:pt>
                <c:pt idx="102">
                  <c:v>39630</c:v>
                </c:pt>
                <c:pt idx="103">
                  <c:v>39661</c:v>
                </c:pt>
                <c:pt idx="104">
                  <c:v>39692</c:v>
                </c:pt>
                <c:pt idx="105">
                  <c:v>39722</c:v>
                </c:pt>
                <c:pt idx="106">
                  <c:v>39753</c:v>
                </c:pt>
                <c:pt idx="107">
                  <c:v>39783</c:v>
                </c:pt>
                <c:pt idx="108">
                  <c:v>39814</c:v>
                </c:pt>
                <c:pt idx="109">
                  <c:v>39845</c:v>
                </c:pt>
                <c:pt idx="110">
                  <c:v>39873</c:v>
                </c:pt>
                <c:pt idx="111">
                  <c:v>39904</c:v>
                </c:pt>
                <c:pt idx="112">
                  <c:v>39934</c:v>
                </c:pt>
                <c:pt idx="113">
                  <c:v>39965</c:v>
                </c:pt>
                <c:pt idx="114">
                  <c:v>39995</c:v>
                </c:pt>
                <c:pt idx="115">
                  <c:v>40026</c:v>
                </c:pt>
                <c:pt idx="116">
                  <c:v>40057</c:v>
                </c:pt>
                <c:pt idx="117">
                  <c:v>40087</c:v>
                </c:pt>
                <c:pt idx="118">
                  <c:v>40118</c:v>
                </c:pt>
                <c:pt idx="119">
                  <c:v>40148</c:v>
                </c:pt>
                <c:pt idx="120">
                  <c:v>40179</c:v>
                </c:pt>
                <c:pt idx="121">
                  <c:v>40210</c:v>
                </c:pt>
                <c:pt idx="122">
                  <c:v>40238</c:v>
                </c:pt>
                <c:pt idx="123">
                  <c:v>40269</c:v>
                </c:pt>
                <c:pt idx="124">
                  <c:v>40299</c:v>
                </c:pt>
                <c:pt idx="125">
                  <c:v>40330</c:v>
                </c:pt>
                <c:pt idx="126">
                  <c:v>40360</c:v>
                </c:pt>
                <c:pt idx="127">
                  <c:v>40391</c:v>
                </c:pt>
                <c:pt idx="128">
                  <c:v>40422</c:v>
                </c:pt>
                <c:pt idx="129">
                  <c:v>40452</c:v>
                </c:pt>
                <c:pt idx="130">
                  <c:v>40483</c:v>
                </c:pt>
                <c:pt idx="131">
                  <c:v>40513</c:v>
                </c:pt>
                <c:pt idx="132">
                  <c:v>40544</c:v>
                </c:pt>
                <c:pt idx="133">
                  <c:v>40575</c:v>
                </c:pt>
                <c:pt idx="134">
                  <c:v>40603</c:v>
                </c:pt>
                <c:pt idx="135">
                  <c:v>40634</c:v>
                </c:pt>
                <c:pt idx="136">
                  <c:v>40664</c:v>
                </c:pt>
                <c:pt idx="137">
                  <c:v>40695</c:v>
                </c:pt>
                <c:pt idx="138">
                  <c:v>40725</c:v>
                </c:pt>
                <c:pt idx="139">
                  <c:v>40756</c:v>
                </c:pt>
                <c:pt idx="140">
                  <c:v>40787</c:v>
                </c:pt>
                <c:pt idx="141">
                  <c:v>40817</c:v>
                </c:pt>
                <c:pt idx="142">
                  <c:v>40848</c:v>
                </c:pt>
                <c:pt idx="143">
                  <c:v>40878</c:v>
                </c:pt>
                <c:pt idx="144">
                  <c:v>40909</c:v>
                </c:pt>
                <c:pt idx="145">
                  <c:v>40940</c:v>
                </c:pt>
                <c:pt idx="146">
                  <c:v>40969</c:v>
                </c:pt>
                <c:pt idx="147">
                  <c:v>41000</c:v>
                </c:pt>
                <c:pt idx="148">
                  <c:v>41030</c:v>
                </c:pt>
                <c:pt idx="149">
                  <c:v>41061</c:v>
                </c:pt>
                <c:pt idx="150">
                  <c:v>41091</c:v>
                </c:pt>
                <c:pt idx="151">
                  <c:v>41122</c:v>
                </c:pt>
                <c:pt idx="152">
                  <c:v>41153</c:v>
                </c:pt>
                <c:pt idx="153">
                  <c:v>41183</c:v>
                </c:pt>
                <c:pt idx="154">
                  <c:v>41214</c:v>
                </c:pt>
                <c:pt idx="155">
                  <c:v>41244</c:v>
                </c:pt>
                <c:pt idx="156">
                  <c:v>41275</c:v>
                </c:pt>
                <c:pt idx="157">
                  <c:v>41306</c:v>
                </c:pt>
                <c:pt idx="158">
                  <c:v>41334</c:v>
                </c:pt>
                <c:pt idx="159">
                  <c:v>41365</c:v>
                </c:pt>
                <c:pt idx="160">
                  <c:v>41395</c:v>
                </c:pt>
                <c:pt idx="161">
                  <c:v>41426</c:v>
                </c:pt>
                <c:pt idx="162">
                  <c:v>41456</c:v>
                </c:pt>
                <c:pt idx="163">
                  <c:v>41487</c:v>
                </c:pt>
                <c:pt idx="164">
                  <c:v>41518</c:v>
                </c:pt>
                <c:pt idx="165">
                  <c:v>41548</c:v>
                </c:pt>
                <c:pt idx="166">
                  <c:v>41579</c:v>
                </c:pt>
                <c:pt idx="167">
                  <c:v>41609</c:v>
                </c:pt>
                <c:pt idx="168">
                  <c:v>41640</c:v>
                </c:pt>
                <c:pt idx="169">
                  <c:v>41671</c:v>
                </c:pt>
                <c:pt idx="170">
                  <c:v>41699</c:v>
                </c:pt>
                <c:pt idx="171">
                  <c:v>41730</c:v>
                </c:pt>
                <c:pt idx="172">
                  <c:v>41760</c:v>
                </c:pt>
                <c:pt idx="173">
                  <c:v>41791</c:v>
                </c:pt>
                <c:pt idx="174">
                  <c:v>41821</c:v>
                </c:pt>
                <c:pt idx="175">
                  <c:v>41852</c:v>
                </c:pt>
                <c:pt idx="176">
                  <c:v>41883</c:v>
                </c:pt>
                <c:pt idx="177">
                  <c:v>41913</c:v>
                </c:pt>
                <c:pt idx="178">
                  <c:v>41944</c:v>
                </c:pt>
                <c:pt idx="179">
                  <c:v>41974</c:v>
                </c:pt>
                <c:pt idx="180">
                  <c:v>42005</c:v>
                </c:pt>
                <c:pt idx="181">
                  <c:v>42036</c:v>
                </c:pt>
                <c:pt idx="182">
                  <c:v>42064</c:v>
                </c:pt>
                <c:pt idx="183">
                  <c:v>42095</c:v>
                </c:pt>
                <c:pt idx="184">
                  <c:v>42125</c:v>
                </c:pt>
                <c:pt idx="185">
                  <c:v>42156</c:v>
                </c:pt>
                <c:pt idx="186">
                  <c:v>42186</c:v>
                </c:pt>
                <c:pt idx="187">
                  <c:v>42217</c:v>
                </c:pt>
                <c:pt idx="188">
                  <c:v>42248</c:v>
                </c:pt>
                <c:pt idx="189">
                  <c:v>42278</c:v>
                </c:pt>
                <c:pt idx="190">
                  <c:v>42309</c:v>
                </c:pt>
                <c:pt idx="191">
                  <c:v>42339</c:v>
                </c:pt>
                <c:pt idx="192">
                  <c:v>42370</c:v>
                </c:pt>
                <c:pt idx="193">
                  <c:v>42401</c:v>
                </c:pt>
                <c:pt idx="194">
                  <c:v>42430</c:v>
                </c:pt>
                <c:pt idx="195">
                  <c:v>42461</c:v>
                </c:pt>
                <c:pt idx="196">
                  <c:v>42491</c:v>
                </c:pt>
                <c:pt idx="197">
                  <c:v>42522</c:v>
                </c:pt>
                <c:pt idx="198">
                  <c:v>42552</c:v>
                </c:pt>
              </c:numCache>
            </c:numRef>
          </c:cat>
          <c:val>
            <c:numRef>
              <c:f>graficos!$K$32:$K$230</c:f>
              <c:numCache>
                <c:formatCode>General</c:formatCode>
                <c:ptCount val="199"/>
                <c:pt idx="0">
                  <c:v>18107.34527096774</c:v>
                </c:pt>
                <c:pt idx="1">
                  <c:v>16876.137634482755</c:v>
                </c:pt>
                <c:pt idx="2">
                  <c:v>18173.744893548388</c:v>
                </c:pt>
                <c:pt idx="3">
                  <c:v>17834.539646666664</c:v>
                </c:pt>
                <c:pt idx="4">
                  <c:v>18341.503506451612</c:v>
                </c:pt>
                <c:pt idx="5">
                  <c:v>17680.270509999998</c:v>
                </c:pt>
                <c:pt idx="6">
                  <c:v>16664.080703225809</c:v>
                </c:pt>
                <c:pt idx="7">
                  <c:v>17518.864129032256</c:v>
                </c:pt>
                <c:pt idx="8">
                  <c:v>17633.485066666668</c:v>
                </c:pt>
                <c:pt idx="9">
                  <c:v>16943.828351612901</c:v>
                </c:pt>
                <c:pt idx="10">
                  <c:v>17733.249843333331</c:v>
                </c:pt>
                <c:pt idx="11">
                  <c:v>17791.023941935484</c:v>
                </c:pt>
                <c:pt idx="12">
                  <c:v>17361.270848387092</c:v>
                </c:pt>
                <c:pt idx="13">
                  <c:v>16613.648103571431</c:v>
                </c:pt>
                <c:pt idx="14">
                  <c:v>17662.165854838706</c:v>
                </c:pt>
                <c:pt idx="15">
                  <c:v>17359.432503333333</c:v>
                </c:pt>
                <c:pt idx="16">
                  <c:v>17250.846787096776</c:v>
                </c:pt>
                <c:pt idx="17">
                  <c:v>17733.232360000002</c:v>
                </c:pt>
                <c:pt idx="18">
                  <c:v>18959.050000000003</c:v>
                </c:pt>
                <c:pt idx="19">
                  <c:v>17215.775029032258</c:v>
                </c:pt>
                <c:pt idx="20">
                  <c:v>18287.360649999999</c:v>
                </c:pt>
                <c:pt idx="21">
                  <c:v>18606.716592286637</c:v>
                </c:pt>
                <c:pt idx="22">
                  <c:v>19877.487529999999</c:v>
                </c:pt>
                <c:pt idx="23">
                  <c:v>20458.123286206523</c:v>
                </c:pt>
                <c:pt idx="24">
                  <c:v>20639.699454838712</c:v>
                </c:pt>
                <c:pt idx="25">
                  <c:v>21109.07464285714</c:v>
                </c:pt>
                <c:pt idx="26">
                  <c:v>21223.173645161289</c:v>
                </c:pt>
                <c:pt idx="27">
                  <c:v>21808.487666666668</c:v>
                </c:pt>
                <c:pt idx="28">
                  <c:v>23354.142258064516</c:v>
                </c:pt>
                <c:pt idx="29">
                  <c:v>23563.10633333334</c:v>
                </c:pt>
                <c:pt idx="30">
                  <c:v>22418.067787096774</c:v>
                </c:pt>
                <c:pt idx="31">
                  <c:v>23584.102903225805</c:v>
                </c:pt>
                <c:pt idx="32">
                  <c:v>22719.113666666668</c:v>
                </c:pt>
                <c:pt idx="33">
                  <c:v>22533.424909677418</c:v>
                </c:pt>
                <c:pt idx="34">
                  <c:v>22774.591273333335</c:v>
                </c:pt>
                <c:pt idx="35">
                  <c:v>21485.354377419357</c:v>
                </c:pt>
                <c:pt idx="36">
                  <c:v>23335.496774193547</c:v>
                </c:pt>
                <c:pt idx="37">
                  <c:v>24351.950000000004</c:v>
                </c:pt>
                <c:pt idx="38">
                  <c:v>23800.390000000003</c:v>
                </c:pt>
                <c:pt idx="39">
                  <c:v>24193.663999999997</c:v>
                </c:pt>
                <c:pt idx="40">
                  <c:v>23886.712903225802</c:v>
                </c:pt>
                <c:pt idx="41">
                  <c:v>23335.540666666664</c:v>
                </c:pt>
                <c:pt idx="42">
                  <c:v>24420.774838709676</c:v>
                </c:pt>
                <c:pt idx="43">
                  <c:v>24796.908387096777</c:v>
                </c:pt>
                <c:pt idx="44">
                  <c:v>24564.635000000002</c:v>
                </c:pt>
                <c:pt idx="45">
                  <c:v>24650.316225806455</c:v>
                </c:pt>
                <c:pt idx="46">
                  <c:v>24113.548233333335</c:v>
                </c:pt>
                <c:pt idx="47">
                  <c:v>24743.576580645164</c:v>
                </c:pt>
                <c:pt idx="48">
                  <c:v>25762.152903225808</c:v>
                </c:pt>
                <c:pt idx="49">
                  <c:v>25726.535</c:v>
                </c:pt>
                <c:pt idx="50">
                  <c:v>26947.068041935483</c:v>
                </c:pt>
                <c:pt idx="51">
                  <c:v>26854.41404</c:v>
                </c:pt>
                <c:pt idx="52">
                  <c:v>25367.169438709676</c:v>
                </c:pt>
                <c:pt idx="53">
                  <c:v>26094.091270000001</c:v>
                </c:pt>
                <c:pt idx="54">
                  <c:v>26218.34818387097</c:v>
                </c:pt>
                <c:pt idx="55">
                  <c:v>26663.83765483871</c:v>
                </c:pt>
                <c:pt idx="56">
                  <c:v>27624.280819999996</c:v>
                </c:pt>
                <c:pt idx="57">
                  <c:v>27612.08409032258</c:v>
                </c:pt>
                <c:pt idx="58">
                  <c:v>25574.985966666667</c:v>
                </c:pt>
                <c:pt idx="59">
                  <c:v>26607.316596774195</c:v>
                </c:pt>
                <c:pt idx="60">
                  <c:v>25887.531019354839</c:v>
                </c:pt>
                <c:pt idx="61">
                  <c:v>25804.315560714283</c:v>
                </c:pt>
                <c:pt idx="62">
                  <c:v>27092.715341935484</c:v>
                </c:pt>
                <c:pt idx="63">
                  <c:v>24947.818336666671</c:v>
                </c:pt>
                <c:pt idx="64">
                  <c:v>25996.519348387097</c:v>
                </c:pt>
                <c:pt idx="65">
                  <c:v>26580.460396666662</c:v>
                </c:pt>
                <c:pt idx="66">
                  <c:v>27486.870967741936</c:v>
                </c:pt>
                <c:pt idx="67">
                  <c:v>27646.064516129034</c:v>
                </c:pt>
                <c:pt idx="68">
                  <c:v>26472.366666666665</c:v>
                </c:pt>
                <c:pt idx="69">
                  <c:v>26503.419354838708</c:v>
                </c:pt>
                <c:pt idx="70">
                  <c:v>28549.733333333334</c:v>
                </c:pt>
                <c:pt idx="71">
                  <c:v>27991.856419354837</c:v>
                </c:pt>
                <c:pt idx="72">
                  <c:v>27291.786270967747</c:v>
                </c:pt>
                <c:pt idx="73">
                  <c:v>27803.533110714285</c:v>
                </c:pt>
                <c:pt idx="74">
                  <c:v>26325.620586536861</c:v>
                </c:pt>
                <c:pt idx="75">
                  <c:v>27362.604153333334</c:v>
                </c:pt>
                <c:pt idx="76">
                  <c:v>26933.316612903232</c:v>
                </c:pt>
                <c:pt idx="77">
                  <c:v>26595.625780000002</c:v>
                </c:pt>
                <c:pt idx="78">
                  <c:v>28099.677977419353</c:v>
                </c:pt>
                <c:pt idx="79">
                  <c:v>27437.371564516128</c:v>
                </c:pt>
                <c:pt idx="80">
                  <c:v>27644.895559999994</c:v>
                </c:pt>
                <c:pt idx="81">
                  <c:v>26623.75168709677</c:v>
                </c:pt>
                <c:pt idx="82">
                  <c:v>26744.230113333331</c:v>
                </c:pt>
                <c:pt idx="83">
                  <c:v>26013.411335483877</c:v>
                </c:pt>
                <c:pt idx="84">
                  <c:v>25561.778758064513</c:v>
                </c:pt>
                <c:pt idx="85">
                  <c:v>26038.053110714285</c:v>
                </c:pt>
                <c:pt idx="86">
                  <c:v>26579.255129032266</c:v>
                </c:pt>
                <c:pt idx="87">
                  <c:v>27162.297073333339</c:v>
                </c:pt>
                <c:pt idx="88">
                  <c:v>24365.356480645158</c:v>
                </c:pt>
                <c:pt idx="89">
                  <c:v>25979.569683333324</c:v>
                </c:pt>
                <c:pt idx="90">
                  <c:v>26108.586861290321</c:v>
                </c:pt>
                <c:pt idx="91">
                  <c:v>27405.235029032254</c:v>
                </c:pt>
                <c:pt idx="92">
                  <c:v>27822.584083333331</c:v>
                </c:pt>
                <c:pt idx="93">
                  <c:v>28163.99929354839</c:v>
                </c:pt>
                <c:pt idx="94">
                  <c:v>28535.108226666667</c:v>
                </c:pt>
                <c:pt idx="95">
                  <c:v>29462.025345161295</c:v>
                </c:pt>
                <c:pt idx="96">
                  <c:v>31377.068403225807</c:v>
                </c:pt>
                <c:pt idx="97">
                  <c:v>34396.000027586211</c:v>
                </c:pt>
                <c:pt idx="98">
                  <c:v>35532.7862016129</c:v>
                </c:pt>
                <c:pt idx="99">
                  <c:v>35462.147306744002</c:v>
                </c:pt>
                <c:pt idx="100">
                  <c:v>33604.406193627103</c:v>
                </c:pt>
                <c:pt idx="101">
                  <c:v>35086.386333390335</c:v>
                </c:pt>
                <c:pt idx="102">
                  <c:v>35235.286777029592</c:v>
                </c:pt>
                <c:pt idx="103">
                  <c:v>35784.164338767434</c:v>
                </c:pt>
                <c:pt idx="104">
                  <c:v>35444.807469333333</c:v>
                </c:pt>
                <c:pt idx="105">
                  <c:v>36147.390265483875</c:v>
                </c:pt>
                <c:pt idx="106">
                  <c:v>33040.816322999999</c:v>
                </c:pt>
                <c:pt idx="107">
                  <c:v>32672.868727096778</c:v>
                </c:pt>
                <c:pt idx="108">
                  <c:v>26703.861713114256</c:v>
                </c:pt>
                <c:pt idx="109">
                  <c:v>27580.993009285728</c:v>
                </c:pt>
                <c:pt idx="110">
                  <c:v>28362.22985354839</c:v>
                </c:pt>
                <c:pt idx="111">
                  <c:v>26870.04243466667</c:v>
                </c:pt>
                <c:pt idx="112">
                  <c:v>29765.659309875598</c:v>
                </c:pt>
                <c:pt idx="113">
                  <c:v>25769.250746000002</c:v>
                </c:pt>
                <c:pt idx="114">
                  <c:v>26275.803056612895</c:v>
                </c:pt>
                <c:pt idx="115">
                  <c:v>26611.427451741936</c:v>
                </c:pt>
                <c:pt idx="116">
                  <c:v>29306.831603333336</c:v>
                </c:pt>
                <c:pt idx="117">
                  <c:v>30193.116771935485</c:v>
                </c:pt>
                <c:pt idx="118">
                  <c:v>29562.027568000001</c:v>
                </c:pt>
                <c:pt idx="119">
                  <c:v>30940.566275806446</c:v>
                </c:pt>
                <c:pt idx="120">
                  <c:v>29590.200043548382</c:v>
                </c:pt>
                <c:pt idx="121">
                  <c:v>31081.379977857137</c:v>
                </c:pt>
                <c:pt idx="122">
                  <c:v>30085.277606774202</c:v>
                </c:pt>
                <c:pt idx="123">
                  <c:v>31506.768468000009</c:v>
                </c:pt>
                <c:pt idx="124">
                  <c:v>32413.558185806443</c:v>
                </c:pt>
                <c:pt idx="125">
                  <c:v>34531.345790999992</c:v>
                </c:pt>
                <c:pt idx="126">
                  <c:v>34406.652922580652</c:v>
                </c:pt>
                <c:pt idx="127">
                  <c:v>34519.375906451613</c:v>
                </c:pt>
                <c:pt idx="128">
                  <c:v>36716.576929000003</c:v>
                </c:pt>
                <c:pt idx="129">
                  <c:v>39207.19147193549</c:v>
                </c:pt>
                <c:pt idx="130">
                  <c:v>39682.247311666659</c:v>
                </c:pt>
                <c:pt idx="131">
                  <c:v>40428.221563225816</c:v>
                </c:pt>
                <c:pt idx="132">
                  <c:v>38180.002162258061</c:v>
                </c:pt>
                <c:pt idx="133">
                  <c:v>35613.759886785723</c:v>
                </c:pt>
                <c:pt idx="134">
                  <c:v>36535.601266774174</c:v>
                </c:pt>
                <c:pt idx="135">
                  <c:v>37374.995178999983</c:v>
                </c:pt>
                <c:pt idx="136">
                  <c:v>40228.833524193535</c:v>
                </c:pt>
                <c:pt idx="137">
                  <c:v>40744.403976000001</c:v>
                </c:pt>
                <c:pt idx="138">
                  <c:v>40605.312551612908</c:v>
                </c:pt>
                <c:pt idx="139">
                  <c:v>41217.775577096778</c:v>
                </c:pt>
                <c:pt idx="140">
                  <c:v>40417.900447666667</c:v>
                </c:pt>
                <c:pt idx="141">
                  <c:v>40887.21395709677</c:v>
                </c:pt>
                <c:pt idx="142">
                  <c:v>41766.183014666662</c:v>
                </c:pt>
                <c:pt idx="143">
                  <c:v>45252.567252903238</c:v>
                </c:pt>
                <c:pt idx="144">
                  <c:v>44630.803789999998</c:v>
                </c:pt>
                <c:pt idx="145">
                  <c:v>42972.46193896552</c:v>
                </c:pt>
                <c:pt idx="146">
                  <c:v>41636.735457741946</c:v>
                </c:pt>
                <c:pt idx="147">
                  <c:v>42323.117167666656</c:v>
                </c:pt>
                <c:pt idx="148">
                  <c:v>43937.774493548386</c:v>
                </c:pt>
                <c:pt idx="149">
                  <c:v>47530.728336666674</c:v>
                </c:pt>
                <c:pt idx="150">
                  <c:v>46825.10305774193</c:v>
                </c:pt>
                <c:pt idx="151">
                  <c:v>47474.462064516127</c:v>
                </c:pt>
                <c:pt idx="152">
                  <c:v>47568.554961000002</c:v>
                </c:pt>
                <c:pt idx="153">
                  <c:v>48819.33002419355</c:v>
                </c:pt>
                <c:pt idx="154">
                  <c:v>50807.640087000014</c:v>
                </c:pt>
                <c:pt idx="155">
                  <c:v>51942.027641935492</c:v>
                </c:pt>
                <c:pt idx="156">
                  <c:v>51963.128867419349</c:v>
                </c:pt>
                <c:pt idx="157">
                  <c:v>52176.375563928566</c:v>
                </c:pt>
                <c:pt idx="158">
                  <c:v>54175.613541290331</c:v>
                </c:pt>
                <c:pt idx="159">
                  <c:v>51100.469988666679</c:v>
                </c:pt>
                <c:pt idx="160">
                  <c:v>51510.813862258066</c:v>
                </c:pt>
                <c:pt idx="161">
                  <c:v>55191.293319333337</c:v>
                </c:pt>
                <c:pt idx="162">
                  <c:v>53787.286068387097</c:v>
                </c:pt>
                <c:pt idx="163">
                  <c:v>52200.859587096769</c:v>
                </c:pt>
                <c:pt idx="164">
                  <c:v>52919.433227333335</c:v>
                </c:pt>
                <c:pt idx="165">
                  <c:v>46444.577197096783</c:v>
                </c:pt>
                <c:pt idx="166">
                  <c:v>51521.861628000006</c:v>
                </c:pt>
                <c:pt idx="167">
                  <c:v>52701.564563870968</c:v>
                </c:pt>
                <c:pt idx="168">
                  <c:v>50995.507831612893</c:v>
                </c:pt>
                <c:pt idx="169">
                  <c:v>53385.443757857152</c:v>
                </c:pt>
                <c:pt idx="170">
                  <c:v>53018.349727419351</c:v>
                </c:pt>
                <c:pt idx="171">
                  <c:v>51904.690026666671</c:v>
                </c:pt>
                <c:pt idx="172">
                  <c:v>52607.89379516129</c:v>
                </c:pt>
                <c:pt idx="173">
                  <c:v>55494.28251866666</c:v>
                </c:pt>
                <c:pt idx="174">
                  <c:v>57375.709098387095</c:v>
                </c:pt>
                <c:pt idx="175">
                  <c:v>59330.212576774189</c:v>
                </c:pt>
                <c:pt idx="176">
                  <c:v>57368.664405000025</c:v>
                </c:pt>
                <c:pt idx="177">
                  <c:v>60391.661862903238</c:v>
                </c:pt>
                <c:pt idx="178">
                  <c:v>58644.46810433334</c:v>
                </c:pt>
                <c:pt idx="179">
                  <c:v>58414.780404193552</c:v>
                </c:pt>
                <c:pt idx="180">
                  <c:v>59542.032258064515</c:v>
                </c:pt>
                <c:pt idx="181">
                  <c:v>59192.285714285717</c:v>
                </c:pt>
                <c:pt idx="182">
                  <c:v>57901.612903225803</c:v>
                </c:pt>
                <c:pt idx="183">
                  <c:v>54535.3</c:v>
                </c:pt>
                <c:pt idx="184">
                  <c:v>54697.741935483871</c:v>
                </c:pt>
                <c:pt idx="185">
                  <c:v>57310.333333333336</c:v>
                </c:pt>
                <c:pt idx="186">
                  <c:v>55582.806451612902</c:v>
                </c:pt>
                <c:pt idx="187">
                  <c:v>56942.096774193546</c:v>
                </c:pt>
                <c:pt idx="188">
                  <c:v>55199.76666666667</c:v>
                </c:pt>
                <c:pt idx="189">
                  <c:v>55779.774193548386</c:v>
                </c:pt>
                <c:pt idx="190">
                  <c:v>49025.23333333333</c:v>
                </c:pt>
                <c:pt idx="191">
                  <c:v>55393.516129032258</c:v>
                </c:pt>
                <c:pt idx="192">
                  <c:v>51073.729318387108</c:v>
                </c:pt>
                <c:pt idx="193">
                  <c:v>51385.96581586208</c:v>
                </c:pt>
                <c:pt idx="194">
                  <c:v>45411.906403870969</c:v>
                </c:pt>
                <c:pt idx="195">
                  <c:v>51729.563005666678</c:v>
                </c:pt>
                <c:pt idx="196">
                  <c:v>55383.26762774193</c:v>
                </c:pt>
                <c:pt idx="197">
                  <c:v>54946.34510866669</c:v>
                </c:pt>
                <c:pt idx="198">
                  <c:v>54631.68646645164</c:v>
                </c:pt>
              </c:numCache>
            </c:numRef>
          </c:val>
          <c:smooth val="0"/>
        </c:ser>
        <c:dLbls>
          <c:showLegendKey val="0"/>
          <c:showVal val="0"/>
          <c:showCatName val="0"/>
          <c:showSerName val="0"/>
          <c:showPercent val="0"/>
          <c:showBubbleSize val="0"/>
        </c:dLbls>
        <c:marker val="1"/>
        <c:smooth val="0"/>
        <c:axId val="139237888"/>
        <c:axId val="92779008"/>
      </c:lineChart>
      <c:dateAx>
        <c:axId val="139237888"/>
        <c:scaling>
          <c:orientation val="minMax"/>
        </c:scaling>
        <c:delete val="0"/>
        <c:axPos val="b"/>
        <c:numFmt formatCode="mmm\-yy" sourceLinked="0"/>
        <c:majorTickMark val="none"/>
        <c:minorTickMark val="none"/>
        <c:tickLblPos val="nextTo"/>
        <c:txPr>
          <a:bodyPr/>
          <a:lstStyle/>
          <a:p>
            <a:pPr>
              <a:defRPr sz="1100" b="1"/>
            </a:pPr>
            <a:endParaRPr lang="pt-BR"/>
          </a:p>
        </c:txPr>
        <c:crossAx val="92779008"/>
        <c:crosses val="autoZero"/>
        <c:auto val="1"/>
        <c:lblOffset val="100"/>
        <c:baseTimeUnit val="months"/>
      </c:dateAx>
      <c:valAx>
        <c:axId val="92779008"/>
        <c:scaling>
          <c:orientation val="minMax"/>
        </c:scaling>
        <c:delete val="0"/>
        <c:axPos val="l"/>
        <c:majorGridlines/>
        <c:numFmt formatCode="#,##0" sourceLinked="0"/>
        <c:majorTickMark val="none"/>
        <c:minorTickMark val="none"/>
        <c:tickLblPos val="nextTo"/>
        <c:spPr>
          <a:ln w="9525">
            <a:noFill/>
          </a:ln>
        </c:spPr>
        <c:txPr>
          <a:bodyPr/>
          <a:lstStyle/>
          <a:p>
            <a:pPr>
              <a:defRPr sz="1600" b="1"/>
            </a:pPr>
            <a:endParaRPr lang="pt-BR"/>
          </a:p>
        </c:txPr>
        <c:crossAx val="139237888"/>
        <c:crosses val="autoZero"/>
        <c:crossBetween val="between"/>
        <c:dispUnits>
          <c:builtInUnit val="thousands"/>
          <c:dispUnitsLbl>
            <c:layout/>
            <c:tx>
              <c:rich>
                <a:bodyPr/>
                <a:lstStyle/>
                <a:p>
                  <a:pPr>
                    <a:defRPr sz="2000"/>
                  </a:pPr>
                  <a:r>
                    <a:rPr lang="pt-BR" sz="2000"/>
                    <a:t>Bilhões</a:t>
                  </a:r>
                  <a:r>
                    <a:rPr lang="pt-BR" sz="2000" baseline="0"/>
                    <a:t> m³/dia</a:t>
                  </a:r>
                  <a:endParaRPr lang="pt-BR" sz="2000"/>
                </a:p>
              </c:rich>
            </c:tx>
          </c:dispUnitsLbl>
        </c:dispUnits>
      </c:valAx>
    </c:plotArea>
    <c:legend>
      <c:legendPos val="b"/>
      <c:layout>
        <c:manualLayout>
          <c:xMode val="edge"/>
          <c:yMode val="edge"/>
          <c:x val="4.0894382416892992E-2"/>
          <c:y val="0.92258920337660488"/>
          <c:w val="0.63884148259903895"/>
          <c:h val="5.9886027760043481E-2"/>
        </c:manualLayout>
      </c:layout>
      <c:overlay val="0"/>
      <c:txPr>
        <a:bodyPr/>
        <a:lstStyle/>
        <a:p>
          <a:pPr>
            <a:defRPr sz="2000" b="1"/>
          </a:pPr>
          <a:endParaRPr lang="pt-BR"/>
        </a:p>
      </c:txPr>
    </c:legend>
    <c:plotVisOnly val="1"/>
    <c:dispBlanksAs val="gap"/>
    <c:showDLblsOverMax val="0"/>
  </c:chart>
  <c:externalData r:id="rId2">
    <c:autoUpdate val="0"/>
  </c:externalData>
  <c:userShapes r:id="rId3"/>
</c:chartSpace>
</file>

<file path=ppt/charts/chart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5267670925020629E-2"/>
          <c:y val="9.8777219776661776E-2"/>
          <c:w val="0.91260464479854708"/>
          <c:h val="0.59786333794889812"/>
        </c:manualLayout>
      </c:layout>
      <c:lineChart>
        <c:grouping val="standard"/>
        <c:varyColors val="0"/>
        <c:ser>
          <c:idx val="0"/>
          <c:order val="0"/>
          <c:tx>
            <c:v>WTI</c:v>
          </c:tx>
          <c:marker>
            <c:symbol val="none"/>
          </c:marker>
          <c:cat>
            <c:numRef>
              <c:f>'[PET_PRI_SPT_S1_D.xls]Data 1'!$E$3082:$E$7863</c:f>
              <c:numCache>
                <c:formatCode>mmm\ dd\,\ yyyy</c:formatCode>
                <c:ptCount val="4782"/>
                <c:pt idx="0">
                  <c:v>35797</c:v>
                </c:pt>
                <c:pt idx="1">
                  <c:v>35800</c:v>
                </c:pt>
                <c:pt idx="2">
                  <c:v>35801</c:v>
                </c:pt>
                <c:pt idx="3">
                  <c:v>35802</c:v>
                </c:pt>
                <c:pt idx="4">
                  <c:v>35803</c:v>
                </c:pt>
                <c:pt idx="5">
                  <c:v>35804</c:v>
                </c:pt>
                <c:pt idx="6">
                  <c:v>35807</c:v>
                </c:pt>
                <c:pt idx="7">
                  <c:v>35808</c:v>
                </c:pt>
                <c:pt idx="8">
                  <c:v>35809</c:v>
                </c:pt>
                <c:pt idx="9">
                  <c:v>35810</c:v>
                </c:pt>
                <c:pt idx="10">
                  <c:v>35811</c:v>
                </c:pt>
                <c:pt idx="11">
                  <c:v>35814</c:v>
                </c:pt>
                <c:pt idx="12">
                  <c:v>35815</c:v>
                </c:pt>
                <c:pt idx="13">
                  <c:v>35816</c:v>
                </c:pt>
                <c:pt idx="14">
                  <c:v>35817</c:v>
                </c:pt>
                <c:pt idx="15">
                  <c:v>35818</c:v>
                </c:pt>
                <c:pt idx="16">
                  <c:v>35821</c:v>
                </c:pt>
                <c:pt idx="17">
                  <c:v>35822</c:v>
                </c:pt>
                <c:pt idx="18">
                  <c:v>35823</c:v>
                </c:pt>
                <c:pt idx="19">
                  <c:v>35824</c:v>
                </c:pt>
                <c:pt idx="20">
                  <c:v>35825</c:v>
                </c:pt>
                <c:pt idx="21">
                  <c:v>35828</c:v>
                </c:pt>
                <c:pt idx="22">
                  <c:v>35829</c:v>
                </c:pt>
                <c:pt idx="23">
                  <c:v>35830</c:v>
                </c:pt>
                <c:pt idx="24">
                  <c:v>35831</c:v>
                </c:pt>
                <c:pt idx="25">
                  <c:v>35832</c:v>
                </c:pt>
                <c:pt idx="26">
                  <c:v>35835</c:v>
                </c:pt>
                <c:pt idx="27">
                  <c:v>35836</c:v>
                </c:pt>
                <c:pt idx="28">
                  <c:v>35837</c:v>
                </c:pt>
                <c:pt idx="29">
                  <c:v>35838</c:v>
                </c:pt>
                <c:pt idx="30">
                  <c:v>35839</c:v>
                </c:pt>
                <c:pt idx="31">
                  <c:v>35842</c:v>
                </c:pt>
                <c:pt idx="32">
                  <c:v>35843</c:v>
                </c:pt>
                <c:pt idx="33">
                  <c:v>35844</c:v>
                </c:pt>
                <c:pt idx="34">
                  <c:v>35845</c:v>
                </c:pt>
                <c:pt idx="35">
                  <c:v>35846</c:v>
                </c:pt>
                <c:pt idx="36">
                  <c:v>35849</c:v>
                </c:pt>
                <c:pt idx="37">
                  <c:v>35850</c:v>
                </c:pt>
                <c:pt idx="38">
                  <c:v>35851</c:v>
                </c:pt>
                <c:pt idx="39">
                  <c:v>35852</c:v>
                </c:pt>
                <c:pt idx="40">
                  <c:v>35853</c:v>
                </c:pt>
                <c:pt idx="41">
                  <c:v>35856</c:v>
                </c:pt>
                <c:pt idx="42">
                  <c:v>35857</c:v>
                </c:pt>
                <c:pt idx="43">
                  <c:v>35858</c:v>
                </c:pt>
                <c:pt idx="44">
                  <c:v>35859</c:v>
                </c:pt>
                <c:pt idx="45">
                  <c:v>35860</c:v>
                </c:pt>
                <c:pt idx="46">
                  <c:v>35863</c:v>
                </c:pt>
                <c:pt idx="47">
                  <c:v>35864</c:v>
                </c:pt>
                <c:pt idx="48">
                  <c:v>35865</c:v>
                </c:pt>
                <c:pt idx="49">
                  <c:v>35866</c:v>
                </c:pt>
                <c:pt idx="50">
                  <c:v>35867</c:v>
                </c:pt>
                <c:pt idx="51">
                  <c:v>35870</c:v>
                </c:pt>
                <c:pt idx="52">
                  <c:v>35871</c:v>
                </c:pt>
                <c:pt idx="53">
                  <c:v>35872</c:v>
                </c:pt>
                <c:pt idx="54">
                  <c:v>35873</c:v>
                </c:pt>
                <c:pt idx="55">
                  <c:v>35874</c:v>
                </c:pt>
                <c:pt idx="56">
                  <c:v>35877</c:v>
                </c:pt>
                <c:pt idx="57">
                  <c:v>35878</c:v>
                </c:pt>
                <c:pt idx="58">
                  <c:v>35879</c:v>
                </c:pt>
                <c:pt idx="59">
                  <c:v>35880</c:v>
                </c:pt>
                <c:pt idx="60">
                  <c:v>35881</c:v>
                </c:pt>
                <c:pt idx="61">
                  <c:v>35884</c:v>
                </c:pt>
                <c:pt idx="62">
                  <c:v>35885</c:v>
                </c:pt>
                <c:pt idx="63">
                  <c:v>35886</c:v>
                </c:pt>
                <c:pt idx="64">
                  <c:v>35887</c:v>
                </c:pt>
                <c:pt idx="65">
                  <c:v>35888</c:v>
                </c:pt>
                <c:pt idx="66">
                  <c:v>35891</c:v>
                </c:pt>
                <c:pt idx="67">
                  <c:v>35892</c:v>
                </c:pt>
                <c:pt idx="68">
                  <c:v>35893</c:v>
                </c:pt>
                <c:pt idx="69">
                  <c:v>35894</c:v>
                </c:pt>
                <c:pt idx="70">
                  <c:v>35898</c:v>
                </c:pt>
                <c:pt idx="71">
                  <c:v>35899</c:v>
                </c:pt>
                <c:pt idx="72">
                  <c:v>35900</c:v>
                </c:pt>
                <c:pt idx="73">
                  <c:v>35901</c:v>
                </c:pt>
                <c:pt idx="74">
                  <c:v>35902</c:v>
                </c:pt>
                <c:pt idx="75">
                  <c:v>35905</c:v>
                </c:pt>
                <c:pt idx="76">
                  <c:v>35906</c:v>
                </c:pt>
                <c:pt idx="77">
                  <c:v>35907</c:v>
                </c:pt>
                <c:pt idx="78">
                  <c:v>35908</c:v>
                </c:pt>
                <c:pt idx="79">
                  <c:v>35909</c:v>
                </c:pt>
                <c:pt idx="80">
                  <c:v>35912</c:v>
                </c:pt>
                <c:pt idx="81">
                  <c:v>35913</c:v>
                </c:pt>
                <c:pt idx="82">
                  <c:v>35914</c:v>
                </c:pt>
                <c:pt idx="83">
                  <c:v>35915</c:v>
                </c:pt>
                <c:pt idx="84">
                  <c:v>35916</c:v>
                </c:pt>
                <c:pt idx="85">
                  <c:v>35919</c:v>
                </c:pt>
                <c:pt idx="86">
                  <c:v>35920</c:v>
                </c:pt>
                <c:pt idx="87">
                  <c:v>35921</c:v>
                </c:pt>
                <c:pt idx="88">
                  <c:v>35922</c:v>
                </c:pt>
                <c:pt idx="89">
                  <c:v>35923</c:v>
                </c:pt>
                <c:pt idx="90">
                  <c:v>35926</c:v>
                </c:pt>
                <c:pt idx="91">
                  <c:v>35927</c:v>
                </c:pt>
                <c:pt idx="92">
                  <c:v>35928</c:v>
                </c:pt>
                <c:pt idx="93">
                  <c:v>35929</c:v>
                </c:pt>
                <c:pt idx="94">
                  <c:v>35930</c:v>
                </c:pt>
                <c:pt idx="95">
                  <c:v>35933</c:v>
                </c:pt>
                <c:pt idx="96">
                  <c:v>35934</c:v>
                </c:pt>
                <c:pt idx="97">
                  <c:v>35935</c:v>
                </c:pt>
                <c:pt idx="98">
                  <c:v>35936</c:v>
                </c:pt>
                <c:pt idx="99">
                  <c:v>35937</c:v>
                </c:pt>
                <c:pt idx="100">
                  <c:v>35941</c:v>
                </c:pt>
                <c:pt idx="101">
                  <c:v>35942</c:v>
                </c:pt>
                <c:pt idx="102">
                  <c:v>35943</c:v>
                </c:pt>
                <c:pt idx="103">
                  <c:v>35944</c:v>
                </c:pt>
                <c:pt idx="104">
                  <c:v>35947</c:v>
                </c:pt>
                <c:pt idx="105">
                  <c:v>35948</c:v>
                </c:pt>
                <c:pt idx="106">
                  <c:v>35949</c:v>
                </c:pt>
                <c:pt idx="107">
                  <c:v>35950</c:v>
                </c:pt>
                <c:pt idx="108">
                  <c:v>35951</c:v>
                </c:pt>
                <c:pt idx="109">
                  <c:v>35954</c:v>
                </c:pt>
                <c:pt idx="110">
                  <c:v>35955</c:v>
                </c:pt>
                <c:pt idx="111">
                  <c:v>35956</c:v>
                </c:pt>
                <c:pt idx="112">
                  <c:v>35957</c:v>
                </c:pt>
                <c:pt idx="113">
                  <c:v>35958</c:v>
                </c:pt>
                <c:pt idx="114">
                  <c:v>35961</c:v>
                </c:pt>
                <c:pt idx="115">
                  <c:v>35962</c:v>
                </c:pt>
                <c:pt idx="116">
                  <c:v>35963</c:v>
                </c:pt>
                <c:pt idx="117">
                  <c:v>35964</c:v>
                </c:pt>
                <c:pt idx="118">
                  <c:v>35965</c:v>
                </c:pt>
                <c:pt idx="119">
                  <c:v>35968</c:v>
                </c:pt>
                <c:pt idx="120">
                  <c:v>35969</c:v>
                </c:pt>
                <c:pt idx="121">
                  <c:v>35970</c:v>
                </c:pt>
                <c:pt idx="122">
                  <c:v>35971</c:v>
                </c:pt>
                <c:pt idx="123">
                  <c:v>35972</c:v>
                </c:pt>
                <c:pt idx="124">
                  <c:v>35975</c:v>
                </c:pt>
                <c:pt idx="125">
                  <c:v>35976</c:v>
                </c:pt>
                <c:pt idx="126">
                  <c:v>35977</c:v>
                </c:pt>
                <c:pt idx="127">
                  <c:v>35978</c:v>
                </c:pt>
                <c:pt idx="128">
                  <c:v>35979</c:v>
                </c:pt>
                <c:pt idx="129">
                  <c:v>35982</c:v>
                </c:pt>
                <c:pt idx="130">
                  <c:v>35983</c:v>
                </c:pt>
                <c:pt idx="131">
                  <c:v>35984</c:v>
                </c:pt>
                <c:pt idx="132">
                  <c:v>35985</c:v>
                </c:pt>
                <c:pt idx="133">
                  <c:v>35986</c:v>
                </c:pt>
                <c:pt idx="134">
                  <c:v>35989</c:v>
                </c:pt>
                <c:pt idx="135">
                  <c:v>35990</c:v>
                </c:pt>
                <c:pt idx="136">
                  <c:v>35991</c:v>
                </c:pt>
                <c:pt idx="137">
                  <c:v>35992</c:v>
                </c:pt>
                <c:pt idx="138">
                  <c:v>35993</c:v>
                </c:pt>
                <c:pt idx="139">
                  <c:v>35996</c:v>
                </c:pt>
                <c:pt idx="140">
                  <c:v>35997</c:v>
                </c:pt>
                <c:pt idx="141">
                  <c:v>35998</c:v>
                </c:pt>
                <c:pt idx="142">
                  <c:v>35999</c:v>
                </c:pt>
                <c:pt idx="143">
                  <c:v>36000</c:v>
                </c:pt>
                <c:pt idx="144">
                  <c:v>36003</c:v>
                </c:pt>
                <c:pt idx="145">
                  <c:v>36004</c:v>
                </c:pt>
                <c:pt idx="146">
                  <c:v>36005</c:v>
                </c:pt>
                <c:pt idx="147">
                  <c:v>36006</c:v>
                </c:pt>
                <c:pt idx="148">
                  <c:v>36007</c:v>
                </c:pt>
                <c:pt idx="149">
                  <c:v>36010</c:v>
                </c:pt>
                <c:pt idx="150">
                  <c:v>36011</c:v>
                </c:pt>
                <c:pt idx="151">
                  <c:v>36012</c:v>
                </c:pt>
                <c:pt idx="152">
                  <c:v>36013</c:v>
                </c:pt>
                <c:pt idx="153">
                  <c:v>36014</c:v>
                </c:pt>
                <c:pt idx="154">
                  <c:v>36017</c:v>
                </c:pt>
                <c:pt idx="155">
                  <c:v>36018</c:v>
                </c:pt>
                <c:pt idx="156">
                  <c:v>36019</c:v>
                </c:pt>
                <c:pt idx="157">
                  <c:v>36020</c:v>
                </c:pt>
                <c:pt idx="158">
                  <c:v>36021</c:v>
                </c:pt>
                <c:pt idx="159">
                  <c:v>36024</c:v>
                </c:pt>
                <c:pt idx="160">
                  <c:v>36025</c:v>
                </c:pt>
                <c:pt idx="161">
                  <c:v>36026</c:v>
                </c:pt>
                <c:pt idx="162">
                  <c:v>36027</c:v>
                </c:pt>
                <c:pt idx="163">
                  <c:v>36028</c:v>
                </c:pt>
                <c:pt idx="164">
                  <c:v>36031</c:v>
                </c:pt>
                <c:pt idx="165">
                  <c:v>36032</c:v>
                </c:pt>
                <c:pt idx="166">
                  <c:v>36033</c:v>
                </c:pt>
                <c:pt idx="167">
                  <c:v>36034</c:v>
                </c:pt>
                <c:pt idx="168">
                  <c:v>36035</c:v>
                </c:pt>
                <c:pt idx="169">
                  <c:v>36038</c:v>
                </c:pt>
                <c:pt idx="170">
                  <c:v>36039</c:v>
                </c:pt>
                <c:pt idx="171">
                  <c:v>36040</c:v>
                </c:pt>
                <c:pt idx="172">
                  <c:v>36041</c:v>
                </c:pt>
                <c:pt idx="173">
                  <c:v>36042</c:v>
                </c:pt>
                <c:pt idx="174">
                  <c:v>36045</c:v>
                </c:pt>
                <c:pt idx="175">
                  <c:v>36046</c:v>
                </c:pt>
                <c:pt idx="176">
                  <c:v>36047</c:v>
                </c:pt>
                <c:pt idx="177">
                  <c:v>36048</c:v>
                </c:pt>
                <c:pt idx="178">
                  <c:v>36049</c:v>
                </c:pt>
                <c:pt idx="179">
                  <c:v>36052</c:v>
                </c:pt>
                <c:pt idx="180">
                  <c:v>36053</c:v>
                </c:pt>
                <c:pt idx="181">
                  <c:v>36054</c:v>
                </c:pt>
                <c:pt idx="182">
                  <c:v>36055</c:v>
                </c:pt>
                <c:pt idx="183">
                  <c:v>36056</c:v>
                </c:pt>
                <c:pt idx="184">
                  <c:v>36059</c:v>
                </c:pt>
                <c:pt idx="185">
                  <c:v>36060</c:v>
                </c:pt>
                <c:pt idx="186">
                  <c:v>36061</c:v>
                </c:pt>
                <c:pt idx="187">
                  <c:v>36062</c:v>
                </c:pt>
                <c:pt idx="188">
                  <c:v>36063</c:v>
                </c:pt>
                <c:pt idx="189">
                  <c:v>36066</c:v>
                </c:pt>
                <c:pt idx="190">
                  <c:v>36067</c:v>
                </c:pt>
                <c:pt idx="191">
                  <c:v>36068</c:v>
                </c:pt>
                <c:pt idx="192">
                  <c:v>36069</c:v>
                </c:pt>
                <c:pt idx="193">
                  <c:v>36070</c:v>
                </c:pt>
                <c:pt idx="194">
                  <c:v>36073</c:v>
                </c:pt>
                <c:pt idx="195">
                  <c:v>36074</c:v>
                </c:pt>
                <c:pt idx="196">
                  <c:v>36075</c:v>
                </c:pt>
                <c:pt idx="197">
                  <c:v>36076</c:v>
                </c:pt>
                <c:pt idx="198">
                  <c:v>36077</c:v>
                </c:pt>
                <c:pt idx="199">
                  <c:v>36080</c:v>
                </c:pt>
                <c:pt idx="200">
                  <c:v>36081</c:v>
                </c:pt>
                <c:pt idx="201">
                  <c:v>36082</c:v>
                </c:pt>
                <c:pt idx="202">
                  <c:v>36083</c:v>
                </c:pt>
                <c:pt idx="203">
                  <c:v>36084</c:v>
                </c:pt>
                <c:pt idx="204">
                  <c:v>36087</c:v>
                </c:pt>
                <c:pt idx="205">
                  <c:v>36088</c:v>
                </c:pt>
                <c:pt idx="206">
                  <c:v>36089</c:v>
                </c:pt>
                <c:pt idx="207">
                  <c:v>36090</c:v>
                </c:pt>
                <c:pt idx="208">
                  <c:v>36091</c:v>
                </c:pt>
                <c:pt idx="209">
                  <c:v>36094</c:v>
                </c:pt>
                <c:pt idx="210">
                  <c:v>36095</c:v>
                </c:pt>
                <c:pt idx="211">
                  <c:v>36096</c:v>
                </c:pt>
                <c:pt idx="212">
                  <c:v>36097</c:v>
                </c:pt>
                <c:pt idx="213">
                  <c:v>36098</c:v>
                </c:pt>
                <c:pt idx="214">
                  <c:v>36101</c:v>
                </c:pt>
                <c:pt idx="215">
                  <c:v>36102</c:v>
                </c:pt>
                <c:pt idx="216">
                  <c:v>36103</c:v>
                </c:pt>
                <c:pt idx="217">
                  <c:v>36104</c:v>
                </c:pt>
                <c:pt idx="218">
                  <c:v>36105</c:v>
                </c:pt>
                <c:pt idx="219">
                  <c:v>36108</c:v>
                </c:pt>
                <c:pt idx="220">
                  <c:v>36109</c:v>
                </c:pt>
                <c:pt idx="221">
                  <c:v>36110</c:v>
                </c:pt>
                <c:pt idx="222">
                  <c:v>36111</c:v>
                </c:pt>
                <c:pt idx="223">
                  <c:v>36112</c:v>
                </c:pt>
                <c:pt idx="224">
                  <c:v>36115</c:v>
                </c:pt>
                <c:pt idx="225">
                  <c:v>36116</c:v>
                </c:pt>
                <c:pt idx="226">
                  <c:v>36117</c:v>
                </c:pt>
                <c:pt idx="227">
                  <c:v>36118</c:v>
                </c:pt>
                <c:pt idx="228">
                  <c:v>36119</c:v>
                </c:pt>
                <c:pt idx="229">
                  <c:v>36122</c:v>
                </c:pt>
                <c:pt idx="230">
                  <c:v>36123</c:v>
                </c:pt>
                <c:pt idx="231">
                  <c:v>36124</c:v>
                </c:pt>
                <c:pt idx="232">
                  <c:v>36125</c:v>
                </c:pt>
                <c:pt idx="233">
                  <c:v>36126</c:v>
                </c:pt>
                <c:pt idx="234">
                  <c:v>36129</c:v>
                </c:pt>
                <c:pt idx="235">
                  <c:v>36130</c:v>
                </c:pt>
                <c:pt idx="236">
                  <c:v>36131</c:v>
                </c:pt>
                <c:pt idx="237">
                  <c:v>36132</c:v>
                </c:pt>
                <c:pt idx="238">
                  <c:v>36133</c:v>
                </c:pt>
                <c:pt idx="239">
                  <c:v>36136</c:v>
                </c:pt>
                <c:pt idx="240">
                  <c:v>36137</c:v>
                </c:pt>
                <c:pt idx="241">
                  <c:v>36138</c:v>
                </c:pt>
                <c:pt idx="242">
                  <c:v>36139</c:v>
                </c:pt>
                <c:pt idx="243">
                  <c:v>36140</c:v>
                </c:pt>
                <c:pt idx="244">
                  <c:v>36143</c:v>
                </c:pt>
                <c:pt idx="245">
                  <c:v>36144</c:v>
                </c:pt>
                <c:pt idx="246">
                  <c:v>36145</c:v>
                </c:pt>
                <c:pt idx="247">
                  <c:v>36146</c:v>
                </c:pt>
                <c:pt idx="248">
                  <c:v>36147</c:v>
                </c:pt>
                <c:pt idx="249">
                  <c:v>36150</c:v>
                </c:pt>
                <c:pt idx="250">
                  <c:v>36151</c:v>
                </c:pt>
                <c:pt idx="251">
                  <c:v>36152</c:v>
                </c:pt>
                <c:pt idx="252">
                  <c:v>36153</c:v>
                </c:pt>
                <c:pt idx="253">
                  <c:v>36157</c:v>
                </c:pt>
                <c:pt idx="254">
                  <c:v>36158</c:v>
                </c:pt>
                <c:pt idx="255">
                  <c:v>36159</c:v>
                </c:pt>
                <c:pt idx="256">
                  <c:v>36160</c:v>
                </c:pt>
                <c:pt idx="257">
                  <c:v>36164</c:v>
                </c:pt>
                <c:pt idx="258">
                  <c:v>36165</c:v>
                </c:pt>
                <c:pt idx="259">
                  <c:v>36166</c:v>
                </c:pt>
                <c:pt idx="260">
                  <c:v>36167</c:v>
                </c:pt>
                <c:pt idx="261">
                  <c:v>36168</c:v>
                </c:pt>
                <c:pt idx="262">
                  <c:v>36171</c:v>
                </c:pt>
                <c:pt idx="263">
                  <c:v>36172</c:v>
                </c:pt>
                <c:pt idx="264">
                  <c:v>36173</c:v>
                </c:pt>
                <c:pt idx="265">
                  <c:v>36174</c:v>
                </c:pt>
                <c:pt idx="266">
                  <c:v>36175</c:v>
                </c:pt>
                <c:pt idx="267">
                  <c:v>36178</c:v>
                </c:pt>
                <c:pt idx="268">
                  <c:v>36179</c:v>
                </c:pt>
                <c:pt idx="269">
                  <c:v>36180</c:v>
                </c:pt>
                <c:pt idx="270">
                  <c:v>36181</c:v>
                </c:pt>
                <c:pt idx="271">
                  <c:v>36182</c:v>
                </c:pt>
                <c:pt idx="272">
                  <c:v>36185</c:v>
                </c:pt>
                <c:pt idx="273">
                  <c:v>36186</c:v>
                </c:pt>
                <c:pt idx="274">
                  <c:v>36187</c:v>
                </c:pt>
                <c:pt idx="275">
                  <c:v>36188</c:v>
                </c:pt>
                <c:pt idx="276">
                  <c:v>36189</c:v>
                </c:pt>
                <c:pt idx="277">
                  <c:v>36192</c:v>
                </c:pt>
                <c:pt idx="278">
                  <c:v>36193</c:v>
                </c:pt>
                <c:pt idx="279">
                  <c:v>36194</c:v>
                </c:pt>
                <c:pt idx="280">
                  <c:v>36195</c:v>
                </c:pt>
                <c:pt idx="281">
                  <c:v>36196</c:v>
                </c:pt>
                <c:pt idx="282">
                  <c:v>36199</c:v>
                </c:pt>
                <c:pt idx="283">
                  <c:v>36200</c:v>
                </c:pt>
                <c:pt idx="284">
                  <c:v>36201</c:v>
                </c:pt>
                <c:pt idx="285">
                  <c:v>36202</c:v>
                </c:pt>
                <c:pt idx="286">
                  <c:v>36203</c:v>
                </c:pt>
                <c:pt idx="287">
                  <c:v>36207</c:v>
                </c:pt>
                <c:pt idx="288">
                  <c:v>36208</c:v>
                </c:pt>
                <c:pt idx="289">
                  <c:v>36209</c:v>
                </c:pt>
                <c:pt idx="290">
                  <c:v>36210</c:v>
                </c:pt>
                <c:pt idx="291">
                  <c:v>36213</c:v>
                </c:pt>
                <c:pt idx="292">
                  <c:v>36214</c:v>
                </c:pt>
                <c:pt idx="293">
                  <c:v>36215</c:v>
                </c:pt>
                <c:pt idx="294">
                  <c:v>36216</c:v>
                </c:pt>
                <c:pt idx="295">
                  <c:v>36217</c:v>
                </c:pt>
                <c:pt idx="296">
                  <c:v>36220</c:v>
                </c:pt>
                <c:pt idx="297">
                  <c:v>36221</c:v>
                </c:pt>
                <c:pt idx="298">
                  <c:v>36222</c:v>
                </c:pt>
                <c:pt idx="299">
                  <c:v>36223</c:v>
                </c:pt>
                <c:pt idx="300">
                  <c:v>36224</c:v>
                </c:pt>
                <c:pt idx="301">
                  <c:v>36227</c:v>
                </c:pt>
                <c:pt idx="302">
                  <c:v>36228</c:v>
                </c:pt>
                <c:pt idx="303">
                  <c:v>36229</c:v>
                </c:pt>
                <c:pt idx="304">
                  <c:v>36230</c:v>
                </c:pt>
                <c:pt idx="305">
                  <c:v>36231</c:v>
                </c:pt>
                <c:pt idx="306">
                  <c:v>36234</c:v>
                </c:pt>
                <c:pt idx="307">
                  <c:v>36235</c:v>
                </c:pt>
                <c:pt idx="308">
                  <c:v>36236</c:v>
                </c:pt>
                <c:pt idx="309">
                  <c:v>36237</c:v>
                </c:pt>
                <c:pt idx="310">
                  <c:v>36238</c:v>
                </c:pt>
                <c:pt idx="311">
                  <c:v>36241</c:v>
                </c:pt>
                <c:pt idx="312">
                  <c:v>36242</c:v>
                </c:pt>
                <c:pt idx="313">
                  <c:v>36243</c:v>
                </c:pt>
                <c:pt idx="314">
                  <c:v>36244</c:v>
                </c:pt>
                <c:pt idx="315">
                  <c:v>36245</c:v>
                </c:pt>
                <c:pt idx="316">
                  <c:v>36248</c:v>
                </c:pt>
                <c:pt idx="317">
                  <c:v>36249</c:v>
                </c:pt>
                <c:pt idx="318">
                  <c:v>36250</c:v>
                </c:pt>
                <c:pt idx="319">
                  <c:v>36251</c:v>
                </c:pt>
                <c:pt idx="320">
                  <c:v>36255</c:v>
                </c:pt>
                <c:pt idx="321">
                  <c:v>36256</c:v>
                </c:pt>
                <c:pt idx="322">
                  <c:v>36257</c:v>
                </c:pt>
                <c:pt idx="323">
                  <c:v>36258</c:v>
                </c:pt>
                <c:pt idx="324">
                  <c:v>36259</c:v>
                </c:pt>
                <c:pt idx="325">
                  <c:v>36262</c:v>
                </c:pt>
                <c:pt idx="326">
                  <c:v>36263</c:v>
                </c:pt>
                <c:pt idx="327">
                  <c:v>36264</c:v>
                </c:pt>
                <c:pt idx="328">
                  <c:v>36265</c:v>
                </c:pt>
                <c:pt idx="329">
                  <c:v>36266</c:v>
                </c:pt>
                <c:pt idx="330">
                  <c:v>36269</c:v>
                </c:pt>
                <c:pt idx="331">
                  <c:v>36270</c:v>
                </c:pt>
                <c:pt idx="332">
                  <c:v>36271</c:v>
                </c:pt>
                <c:pt idx="333">
                  <c:v>36272</c:v>
                </c:pt>
                <c:pt idx="334">
                  <c:v>36273</c:v>
                </c:pt>
                <c:pt idx="335">
                  <c:v>36276</c:v>
                </c:pt>
                <c:pt idx="336">
                  <c:v>36277</c:v>
                </c:pt>
                <c:pt idx="337">
                  <c:v>36278</c:v>
                </c:pt>
                <c:pt idx="338">
                  <c:v>36279</c:v>
                </c:pt>
                <c:pt idx="339">
                  <c:v>36280</c:v>
                </c:pt>
                <c:pt idx="340">
                  <c:v>36283</c:v>
                </c:pt>
                <c:pt idx="341">
                  <c:v>36284</c:v>
                </c:pt>
                <c:pt idx="342">
                  <c:v>36285</c:v>
                </c:pt>
                <c:pt idx="343">
                  <c:v>36286</c:v>
                </c:pt>
                <c:pt idx="344">
                  <c:v>36287</c:v>
                </c:pt>
                <c:pt idx="345">
                  <c:v>36290</c:v>
                </c:pt>
                <c:pt idx="346">
                  <c:v>36291</c:v>
                </c:pt>
                <c:pt idx="347">
                  <c:v>36292</c:v>
                </c:pt>
                <c:pt idx="348">
                  <c:v>36293</c:v>
                </c:pt>
                <c:pt idx="349">
                  <c:v>36294</c:v>
                </c:pt>
                <c:pt idx="350">
                  <c:v>36297</c:v>
                </c:pt>
                <c:pt idx="351">
                  <c:v>36298</c:v>
                </c:pt>
                <c:pt idx="352">
                  <c:v>36299</c:v>
                </c:pt>
                <c:pt idx="353">
                  <c:v>36300</c:v>
                </c:pt>
                <c:pt idx="354">
                  <c:v>36301</c:v>
                </c:pt>
                <c:pt idx="355">
                  <c:v>36304</c:v>
                </c:pt>
                <c:pt idx="356">
                  <c:v>36305</c:v>
                </c:pt>
                <c:pt idx="357">
                  <c:v>36306</c:v>
                </c:pt>
                <c:pt idx="358">
                  <c:v>36307</c:v>
                </c:pt>
                <c:pt idx="359">
                  <c:v>36308</c:v>
                </c:pt>
                <c:pt idx="360">
                  <c:v>36312</c:v>
                </c:pt>
                <c:pt idx="361">
                  <c:v>36313</c:v>
                </c:pt>
                <c:pt idx="362">
                  <c:v>36314</c:v>
                </c:pt>
                <c:pt idx="363">
                  <c:v>36315</c:v>
                </c:pt>
                <c:pt idx="364">
                  <c:v>36318</c:v>
                </c:pt>
                <c:pt idx="365">
                  <c:v>36319</c:v>
                </c:pt>
                <c:pt idx="366">
                  <c:v>36320</c:v>
                </c:pt>
                <c:pt idx="367">
                  <c:v>36321</c:v>
                </c:pt>
                <c:pt idx="368">
                  <c:v>36322</c:v>
                </c:pt>
                <c:pt idx="369">
                  <c:v>36325</c:v>
                </c:pt>
                <c:pt idx="370">
                  <c:v>36326</c:v>
                </c:pt>
                <c:pt idx="371">
                  <c:v>36327</c:v>
                </c:pt>
                <c:pt idx="372">
                  <c:v>36328</c:v>
                </c:pt>
                <c:pt idx="373">
                  <c:v>36329</c:v>
                </c:pt>
                <c:pt idx="374">
                  <c:v>36332</c:v>
                </c:pt>
                <c:pt idx="375">
                  <c:v>36333</c:v>
                </c:pt>
                <c:pt idx="376">
                  <c:v>36334</c:v>
                </c:pt>
                <c:pt idx="377">
                  <c:v>36335</c:v>
                </c:pt>
                <c:pt idx="378">
                  <c:v>36336</c:v>
                </c:pt>
                <c:pt idx="379">
                  <c:v>36339</c:v>
                </c:pt>
                <c:pt idx="380">
                  <c:v>36340</c:v>
                </c:pt>
                <c:pt idx="381">
                  <c:v>36341</c:v>
                </c:pt>
                <c:pt idx="382">
                  <c:v>36342</c:v>
                </c:pt>
                <c:pt idx="383">
                  <c:v>36343</c:v>
                </c:pt>
                <c:pt idx="384">
                  <c:v>36347</c:v>
                </c:pt>
                <c:pt idx="385">
                  <c:v>36348</c:v>
                </c:pt>
                <c:pt idx="386">
                  <c:v>36349</c:v>
                </c:pt>
                <c:pt idx="387">
                  <c:v>36350</c:v>
                </c:pt>
                <c:pt idx="388">
                  <c:v>36353</c:v>
                </c:pt>
                <c:pt idx="389">
                  <c:v>36354</c:v>
                </c:pt>
                <c:pt idx="390">
                  <c:v>36355</c:v>
                </c:pt>
                <c:pt idx="391">
                  <c:v>36356</c:v>
                </c:pt>
                <c:pt idx="392">
                  <c:v>36357</c:v>
                </c:pt>
                <c:pt idx="393">
                  <c:v>36360</c:v>
                </c:pt>
                <c:pt idx="394">
                  <c:v>36361</c:v>
                </c:pt>
                <c:pt idx="395">
                  <c:v>36362</c:v>
                </c:pt>
                <c:pt idx="396">
                  <c:v>36363</c:v>
                </c:pt>
                <c:pt idx="397">
                  <c:v>36364</c:v>
                </c:pt>
                <c:pt idx="398">
                  <c:v>36367</c:v>
                </c:pt>
                <c:pt idx="399">
                  <c:v>36368</c:v>
                </c:pt>
                <c:pt idx="400">
                  <c:v>36369</c:v>
                </c:pt>
                <c:pt idx="401">
                  <c:v>36370</c:v>
                </c:pt>
                <c:pt idx="402">
                  <c:v>36371</c:v>
                </c:pt>
                <c:pt idx="403">
                  <c:v>36374</c:v>
                </c:pt>
                <c:pt idx="404">
                  <c:v>36375</c:v>
                </c:pt>
                <c:pt idx="405">
                  <c:v>36376</c:v>
                </c:pt>
                <c:pt idx="406">
                  <c:v>36377</c:v>
                </c:pt>
                <c:pt idx="407">
                  <c:v>36378</c:v>
                </c:pt>
                <c:pt idx="408">
                  <c:v>36381</c:v>
                </c:pt>
                <c:pt idx="409">
                  <c:v>36382</c:v>
                </c:pt>
                <c:pt idx="410">
                  <c:v>36383</c:v>
                </c:pt>
                <c:pt idx="411">
                  <c:v>36384</c:v>
                </c:pt>
                <c:pt idx="412">
                  <c:v>36385</c:v>
                </c:pt>
                <c:pt idx="413">
                  <c:v>36388</c:v>
                </c:pt>
                <c:pt idx="414">
                  <c:v>36389</c:v>
                </c:pt>
                <c:pt idx="415">
                  <c:v>36390</c:v>
                </c:pt>
                <c:pt idx="416">
                  <c:v>36391</c:v>
                </c:pt>
                <c:pt idx="417">
                  <c:v>36392</c:v>
                </c:pt>
                <c:pt idx="418">
                  <c:v>36395</c:v>
                </c:pt>
                <c:pt idx="419">
                  <c:v>36396</c:v>
                </c:pt>
                <c:pt idx="420">
                  <c:v>36397</c:v>
                </c:pt>
                <c:pt idx="421">
                  <c:v>36398</c:v>
                </c:pt>
                <c:pt idx="422">
                  <c:v>36399</c:v>
                </c:pt>
                <c:pt idx="423">
                  <c:v>36402</c:v>
                </c:pt>
                <c:pt idx="424">
                  <c:v>36403</c:v>
                </c:pt>
                <c:pt idx="425">
                  <c:v>36404</c:v>
                </c:pt>
                <c:pt idx="426">
                  <c:v>36405</c:v>
                </c:pt>
                <c:pt idx="427">
                  <c:v>36406</c:v>
                </c:pt>
                <c:pt idx="428">
                  <c:v>36409</c:v>
                </c:pt>
                <c:pt idx="429">
                  <c:v>36410</c:v>
                </c:pt>
                <c:pt idx="430">
                  <c:v>36411</c:v>
                </c:pt>
                <c:pt idx="431">
                  <c:v>36412</c:v>
                </c:pt>
                <c:pt idx="432">
                  <c:v>36413</c:v>
                </c:pt>
                <c:pt idx="433">
                  <c:v>36416</c:v>
                </c:pt>
                <c:pt idx="434">
                  <c:v>36417</c:v>
                </c:pt>
                <c:pt idx="435">
                  <c:v>36418</c:v>
                </c:pt>
                <c:pt idx="436">
                  <c:v>36419</c:v>
                </c:pt>
                <c:pt idx="437">
                  <c:v>36420</c:v>
                </c:pt>
                <c:pt idx="438">
                  <c:v>36423</c:v>
                </c:pt>
                <c:pt idx="439">
                  <c:v>36424</c:v>
                </c:pt>
                <c:pt idx="440">
                  <c:v>36425</c:v>
                </c:pt>
                <c:pt idx="441">
                  <c:v>36426</c:v>
                </c:pt>
                <c:pt idx="442">
                  <c:v>36427</c:v>
                </c:pt>
                <c:pt idx="443">
                  <c:v>36430</c:v>
                </c:pt>
                <c:pt idx="444">
                  <c:v>36431</c:v>
                </c:pt>
                <c:pt idx="445">
                  <c:v>36432</c:v>
                </c:pt>
                <c:pt idx="446">
                  <c:v>36433</c:v>
                </c:pt>
                <c:pt idx="447">
                  <c:v>36434</c:v>
                </c:pt>
                <c:pt idx="448">
                  <c:v>36437</c:v>
                </c:pt>
                <c:pt idx="449">
                  <c:v>36438</c:v>
                </c:pt>
                <c:pt idx="450">
                  <c:v>36439</c:v>
                </c:pt>
                <c:pt idx="451">
                  <c:v>36440</c:v>
                </c:pt>
                <c:pt idx="452">
                  <c:v>36441</c:v>
                </c:pt>
                <c:pt idx="453">
                  <c:v>36444</c:v>
                </c:pt>
                <c:pt idx="454">
                  <c:v>36445</c:v>
                </c:pt>
                <c:pt idx="455">
                  <c:v>36446</c:v>
                </c:pt>
                <c:pt idx="456">
                  <c:v>36447</c:v>
                </c:pt>
                <c:pt idx="457">
                  <c:v>36448</c:v>
                </c:pt>
                <c:pt idx="458">
                  <c:v>36451</c:v>
                </c:pt>
                <c:pt idx="459">
                  <c:v>36452</c:v>
                </c:pt>
                <c:pt idx="460">
                  <c:v>36453</c:v>
                </c:pt>
                <c:pt idx="461">
                  <c:v>36454</c:v>
                </c:pt>
                <c:pt idx="462">
                  <c:v>36455</c:v>
                </c:pt>
                <c:pt idx="463">
                  <c:v>36458</c:v>
                </c:pt>
                <c:pt idx="464">
                  <c:v>36459</c:v>
                </c:pt>
                <c:pt idx="465">
                  <c:v>36460</c:v>
                </c:pt>
                <c:pt idx="466">
                  <c:v>36461</c:v>
                </c:pt>
                <c:pt idx="467">
                  <c:v>36462</c:v>
                </c:pt>
                <c:pt idx="468">
                  <c:v>36465</c:v>
                </c:pt>
                <c:pt idx="469">
                  <c:v>36466</c:v>
                </c:pt>
                <c:pt idx="470">
                  <c:v>36467</c:v>
                </c:pt>
                <c:pt idx="471">
                  <c:v>36468</c:v>
                </c:pt>
                <c:pt idx="472">
                  <c:v>36469</c:v>
                </c:pt>
                <c:pt idx="473">
                  <c:v>36472</c:v>
                </c:pt>
                <c:pt idx="474">
                  <c:v>36473</c:v>
                </c:pt>
                <c:pt idx="475">
                  <c:v>36474</c:v>
                </c:pt>
                <c:pt idx="476">
                  <c:v>36475</c:v>
                </c:pt>
                <c:pt idx="477">
                  <c:v>36476</c:v>
                </c:pt>
                <c:pt idx="478">
                  <c:v>36479</c:v>
                </c:pt>
                <c:pt idx="479">
                  <c:v>36480</c:v>
                </c:pt>
                <c:pt idx="480">
                  <c:v>36481</c:v>
                </c:pt>
                <c:pt idx="481">
                  <c:v>36482</c:v>
                </c:pt>
                <c:pt idx="482">
                  <c:v>36483</c:v>
                </c:pt>
                <c:pt idx="483">
                  <c:v>36486</c:v>
                </c:pt>
                <c:pt idx="484">
                  <c:v>36487</c:v>
                </c:pt>
                <c:pt idx="485">
                  <c:v>36488</c:v>
                </c:pt>
                <c:pt idx="486">
                  <c:v>36489</c:v>
                </c:pt>
                <c:pt idx="487">
                  <c:v>36490</c:v>
                </c:pt>
                <c:pt idx="488">
                  <c:v>36493</c:v>
                </c:pt>
                <c:pt idx="489">
                  <c:v>36494</c:v>
                </c:pt>
                <c:pt idx="490">
                  <c:v>36495</c:v>
                </c:pt>
                <c:pt idx="491">
                  <c:v>36496</c:v>
                </c:pt>
                <c:pt idx="492">
                  <c:v>36497</c:v>
                </c:pt>
                <c:pt idx="493">
                  <c:v>36500</c:v>
                </c:pt>
                <c:pt idx="494">
                  <c:v>36501</c:v>
                </c:pt>
                <c:pt idx="495">
                  <c:v>36502</c:v>
                </c:pt>
                <c:pt idx="496">
                  <c:v>36503</c:v>
                </c:pt>
                <c:pt idx="497">
                  <c:v>36504</c:v>
                </c:pt>
                <c:pt idx="498">
                  <c:v>36507</c:v>
                </c:pt>
                <c:pt idx="499">
                  <c:v>36508</c:v>
                </c:pt>
                <c:pt idx="500">
                  <c:v>36509</c:v>
                </c:pt>
                <c:pt idx="501">
                  <c:v>36510</c:v>
                </c:pt>
                <c:pt idx="502">
                  <c:v>36511</c:v>
                </c:pt>
                <c:pt idx="503">
                  <c:v>36514</c:v>
                </c:pt>
                <c:pt idx="504">
                  <c:v>36515</c:v>
                </c:pt>
                <c:pt idx="505">
                  <c:v>36516</c:v>
                </c:pt>
                <c:pt idx="506">
                  <c:v>36517</c:v>
                </c:pt>
                <c:pt idx="507">
                  <c:v>36521</c:v>
                </c:pt>
                <c:pt idx="508">
                  <c:v>36522</c:v>
                </c:pt>
                <c:pt idx="509">
                  <c:v>36523</c:v>
                </c:pt>
                <c:pt idx="510">
                  <c:v>36524</c:v>
                </c:pt>
                <c:pt idx="511">
                  <c:v>36529</c:v>
                </c:pt>
                <c:pt idx="512">
                  <c:v>36530</c:v>
                </c:pt>
                <c:pt idx="513">
                  <c:v>36531</c:v>
                </c:pt>
                <c:pt idx="514">
                  <c:v>36532</c:v>
                </c:pt>
                <c:pt idx="515">
                  <c:v>36535</c:v>
                </c:pt>
                <c:pt idx="516">
                  <c:v>36536</c:v>
                </c:pt>
                <c:pt idx="517">
                  <c:v>36537</c:v>
                </c:pt>
                <c:pt idx="518">
                  <c:v>36538</c:v>
                </c:pt>
                <c:pt idx="519">
                  <c:v>36539</c:v>
                </c:pt>
                <c:pt idx="520">
                  <c:v>36542</c:v>
                </c:pt>
                <c:pt idx="521">
                  <c:v>36543</c:v>
                </c:pt>
                <c:pt idx="522">
                  <c:v>36544</c:v>
                </c:pt>
                <c:pt idx="523">
                  <c:v>36545</c:v>
                </c:pt>
                <c:pt idx="524">
                  <c:v>36546</c:v>
                </c:pt>
                <c:pt idx="525">
                  <c:v>36549</c:v>
                </c:pt>
                <c:pt idx="526">
                  <c:v>36550</c:v>
                </c:pt>
                <c:pt idx="527">
                  <c:v>36551</c:v>
                </c:pt>
                <c:pt idx="528">
                  <c:v>36552</c:v>
                </c:pt>
                <c:pt idx="529">
                  <c:v>36553</c:v>
                </c:pt>
                <c:pt idx="530">
                  <c:v>36556</c:v>
                </c:pt>
                <c:pt idx="531">
                  <c:v>36557</c:v>
                </c:pt>
                <c:pt idx="532">
                  <c:v>36558</c:v>
                </c:pt>
                <c:pt idx="533">
                  <c:v>36559</c:v>
                </c:pt>
                <c:pt idx="534">
                  <c:v>36560</c:v>
                </c:pt>
                <c:pt idx="535">
                  <c:v>36563</c:v>
                </c:pt>
                <c:pt idx="536">
                  <c:v>36564</c:v>
                </c:pt>
                <c:pt idx="537">
                  <c:v>36565</c:v>
                </c:pt>
                <c:pt idx="538">
                  <c:v>36566</c:v>
                </c:pt>
                <c:pt idx="539">
                  <c:v>36567</c:v>
                </c:pt>
                <c:pt idx="540">
                  <c:v>36570</c:v>
                </c:pt>
                <c:pt idx="541">
                  <c:v>36571</c:v>
                </c:pt>
                <c:pt idx="542">
                  <c:v>36572</c:v>
                </c:pt>
                <c:pt idx="543">
                  <c:v>36573</c:v>
                </c:pt>
                <c:pt idx="544">
                  <c:v>36574</c:v>
                </c:pt>
                <c:pt idx="545">
                  <c:v>36577</c:v>
                </c:pt>
                <c:pt idx="546">
                  <c:v>36578</c:v>
                </c:pt>
                <c:pt idx="547">
                  <c:v>36579</c:v>
                </c:pt>
                <c:pt idx="548">
                  <c:v>36580</c:v>
                </c:pt>
                <c:pt idx="549">
                  <c:v>36581</c:v>
                </c:pt>
                <c:pt idx="550">
                  <c:v>36584</c:v>
                </c:pt>
                <c:pt idx="551">
                  <c:v>36585</c:v>
                </c:pt>
                <c:pt idx="552">
                  <c:v>36586</c:v>
                </c:pt>
                <c:pt idx="553">
                  <c:v>36587</c:v>
                </c:pt>
                <c:pt idx="554">
                  <c:v>36588</c:v>
                </c:pt>
                <c:pt idx="555">
                  <c:v>36591</c:v>
                </c:pt>
                <c:pt idx="556">
                  <c:v>36592</c:v>
                </c:pt>
                <c:pt idx="557">
                  <c:v>36593</c:v>
                </c:pt>
                <c:pt idx="558">
                  <c:v>36594</c:v>
                </c:pt>
                <c:pt idx="559">
                  <c:v>36595</c:v>
                </c:pt>
                <c:pt idx="560">
                  <c:v>36598</c:v>
                </c:pt>
                <c:pt idx="561">
                  <c:v>36599</c:v>
                </c:pt>
                <c:pt idx="562">
                  <c:v>36600</c:v>
                </c:pt>
                <c:pt idx="563">
                  <c:v>36601</c:v>
                </c:pt>
                <c:pt idx="564">
                  <c:v>36602</c:v>
                </c:pt>
                <c:pt idx="565">
                  <c:v>36605</c:v>
                </c:pt>
                <c:pt idx="566">
                  <c:v>36606</c:v>
                </c:pt>
                <c:pt idx="567">
                  <c:v>36607</c:v>
                </c:pt>
                <c:pt idx="568">
                  <c:v>36608</c:v>
                </c:pt>
                <c:pt idx="569">
                  <c:v>36609</c:v>
                </c:pt>
                <c:pt idx="570">
                  <c:v>36612</c:v>
                </c:pt>
                <c:pt idx="571">
                  <c:v>36613</c:v>
                </c:pt>
                <c:pt idx="572">
                  <c:v>36614</c:v>
                </c:pt>
                <c:pt idx="573">
                  <c:v>36615</c:v>
                </c:pt>
                <c:pt idx="574">
                  <c:v>36616</c:v>
                </c:pt>
                <c:pt idx="575">
                  <c:v>36619</c:v>
                </c:pt>
                <c:pt idx="576">
                  <c:v>36620</c:v>
                </c:pt>
                <c:pt idx="577">
                  <c:v>36621</c:v>
                </c:pt>
                <c:pt idx="578">
                  <c:v>36622</c:v>
                </c:pt>
                <c:pt idx="579">
                  <c:v>36623</c:v>
                </c:pt>
                <c:pt idx="580">
                  <c:v>36626</c:v>
                </c:pt>
                <c:pt idx="581">
                  <c:v>36627</c:v>
                </c:pt>
                <c:pt idx="582">
                  <c:v>36628</c:v>
                </c:pt>
                <c:pt idx="583">
                  <c:v>36629</c:v>
                </c:pt>
                <c:pt idx="584">
                  <c:v>36630</c:v>
                </c:pt>
                <c:pt idx="585">
                  <c:v>36633</c:v>
                </c:pt>
                <c:pt idx="586">
                  <c:v>36634</c:v>
                </c:pt>
                <c:pt idx="587">
                  <c:v>36635</c:v>
                </c:pt>
                <c:pt idx="588">
                  <c:v>36636</c:v>
                </c:pt>
                <c:pt idx="589">
                  <c:v>36640</c:v>
                </c:pt>
                <c:pt idx="590">
                  <c:v>36641</c:v>
                </c:pt>
                <c:pt idx="591">
                  <c:v>36642</c:v>
                </c:pt>
                <c:pt idx="592">
                  <c:v>36643</c:v>
                </c:pt>
                <c:pt idx="593">
                  <c:v>36644</c:v>
                </c:pt>
                <c:pt idx="594">
                  <c:v>36647</c:v>
                </c:pt>
                <c:pt idx="595">
                  <c:v>36648</c:v>
                </c:pt>
                <c:pt idx="596">
                  <c:v>36649</c:v>
                </c:pt>
                <c:pt idx="597">
                  <c:v>36650</c:v>
                </c:pt>
                <c:pt idx="598">
                  <c:v>36651</c:v>
                </c:pt>
                <c:pt idx="599">
                  <c:v>36654</c:v>
                </c:pt>
                <c:pt idx="600">
                  <c:v>36655</c:v>
                </c:pt>
                <c:pt idx="601">
                  <c:v>36656</c:v>
                </c:pt>
                <c:pt idx="602">
                  <c:v>36657</c:v>
                </c:pt>
                <c:pt idx="603">
                  <c:v>36658</c:v>
                </c:pt>
                <c:pt idx="604">
                  <c:v>36661</c:v>
                </c:pt>
                <c:pt idx="605">
                  <c:v>36662</c:v>
                </c:pt>
                <c:pt idx="606">
                  <c:v>36663</c:v>
                </c:pt>
                <c:pt idx="607">
                  <c:v>36664</c:v>
                </c:pt>
                <c:pt idx="608">
                  <c:v>36665</c:v>
                </c:pt>
                <c:pt idx="609">
                  <c:v>36668</c:v>
                </c:pt>
                <c:pt idx="610">
                  <c:v>36669</c:v>
                </c:pt>
                <c:pt idx="611">
                  <c:v>36670</c:v>
                </c:pt>
                <c:pt idx="612">
                  <c:v>36671</c:v>
                </c:pt>
                <c:pt idx="613">
                  <c:v>36672</c:v>
                </c:pt>
                <c:pt idx="614">
                  <c:v>36676</c:v>
                </c:pt>
                <c:pt idx="615">
                  <c:v>36677</c:v>
                </c:pt>
                <c:pt idx="616">
                  <c:v>36678</c:v>
                </c:pt>
                <c:pt idx="617">
                  <c:v>36679</c:v>
                </c:pt>
                <c:pt idx="618">
                  <c:v>36682</c:v>
                </c:pt>
                <c:pt idx="619">
                  <c:v>36683</c:v>
                </c:pt>
                <c:pt idx="620">
                  <c:v>36684</c:v>
                </c:pt>
                <c:pt idx="621">
                  <c:v>36685</c:v>
                </c:pt>
                <c:pt idx="622">
                  <c:v>36686</c:v>
                </c:pt>
                <c:pt idx="623">
                  <c:v>36689</c:v>
                </c:pt>
                <c:pt idx="624">
                  <c:v>36690</c:v>
                </c:pt>
                <c:pt idx="625">
                  <c:v>36691</c:v>
                </c:pt>
                <c:pt idx="626">
                  <c:v>36692</c:v>
                </c:pt>
                <c:pt idx="627">
                  <c:v>36693</c:v>
                </c:pt>
                <c:pt idx="628">
                  <c:v>36696</c:v>
                </c:pt>
                <c:pt idx="629">
                  <c:v>36697</c:v>
                </c:pt>
                <c:pt idx="630">
                  <c:v>36698</c:v>
                </c:pt>
                <c:pt idx="631">
                  <c:v>36699</c:v>
                </c:pt>
                <c:pt idx="632">
                  <c:v>36700</c:v>
                </c:pt>
                <c:pt idx="633">
                  <c:v>36703</c:v>
                </c:pt>
                <c:pt idx="634">
                  <c:v>36704</c:v>
                </c:pt>
                <c:pt idx="635">
                  <c:v>36705</c:v>
                </c:pt>
                <c:pt idx="636">
                  <c:v>36706</c:v>
                </c:pt>
                <c:pt idx="637">
                  <c:v>36707</c:v>
                </c:pt>
                <c:pt idx="638">
                  <c:v>36710</c:v>
                </c:pt>
                <c:pt idx="639">
                  <c:v>36711</c:v>
                </c:pt>
                <c:pt idx="640">
                  <c:v>36712</c:v>
                </c:pt>
                <c:pt idx="641">
                  <c:v>36713</c:v>
                </c:pt>
                <c:pt idx="642">
                  <c:v>36714</c:v>
                </c:pt>
                <c:pt idx="643">
                  <c:v>36717</c:v>
                </c:pt>
                <c:pt idx="644">
                  <c:v>36718</c:v>
                </c:pt>
                <c:pt idx="645">
                  <c:v>36719</c:v>
                </c:pt>
                <c:pt idx="646">
                  <c:v>36720</c:v>
                </c:pt>
                <c:pt idx="647">
                  <c:v>36721</c:v>
                </c:pt>
                <c:pt idx="648">
                  <c:v>36724</c:v>
                </c:pt>
                <c:pt idx="649">
                  <c:v>36725</c:v>
                </c:pt>
                <c:pt idx="650">
                  <c:v>36726</c:v>
                </c:pt>
                <c:pt idx="651">
                  <c:v>36727</c:v>
                </c:pt>
                <c:pt idx="652">
                  <c:v>36728</c:v>
                </c:pt>
                <c:pt idx="653">
                  <c:v>36731</c:v>
                </c:pt>
                <c:pt idx="654">
                  <c:v>36732</c:v>
                </c:pt>
                <c:pt idx="655">
                  <c:v>36733</c:v>
                </c:pt>
                <c:pt idx="656">
                  <c:v>36734</c:v>
                </c:pt>
                <c:pt idx="657">
                  <c:v>36735</c:v>
                </c:pt>
                <c:pt idx="658">
                  <c:v>36738</c:v>
                </c:pt>
                <c:pt idx="659">
                  <c:v>36739</c:v>
                </c:pt>
                <c:pt idx="660">
                  <c:v>36740</c:v>
                </c:pt>
                <c:pt idx="661">
                  <c:v>36741</c:v>
                </c:pt>
                <c:pt idx="662">
                  <c:v>36742</c:v>
                </c:pt>
                <c:pt idx="663">
                  <c:v>36745</c:v>
                </c:pt>
                <c:pt idx="664">
                  <c:v>36746</c:v>
                </c:pt>
                <c:pt idx="665">
                  <c:v>36747</c:v>
                </c:pt>
                <c:pt idx="666">
                  <c:v>36748</c:v>
                </c:pt>
                <c:pt idx="667">
                  <c:v>36749</c:v>
                </c:pt>
                <c:pt idx="668">
                  <c:v>36752</c:v>
                </c:pt>
                <c:pt idx="669">
                  <c:v>36753</c:v>
                </c:pt>
                <c:pt idx="670">
                  <c:v>36754</c:v>
                </c:pt>
                <c:pt idx="671">
                  <c:v>36755</c:v>
                </c:pt>
                <c:pt idx="672">
                  <c:v>36756</c:v>
                </c:pt>
                <c:pt idx="673">
                  <c:v>36759</c:v>
                </c:pt>
                <c:pt idx="674">
                  <c:v>36760</c:v>
                </c:pt>
                <c:pt idx="675">
                  <c:v>36761</c:v>
                </c:pt>
                <c:pt idx="676">
                  <c:v>36762</c:v>
                </c:pt>
                <c:pt idx="677">
                  <c:v>36763</c:v>
                </c:pt>
                <c:pt idx="678">
                  <c:v>36766</c:v>
                </c:pt>
                <c:pt idx="679">
                  <c:v>36767</c:v>
                </c:pt>
                <c:pt idx="680">
                  <c:v>36768</c:v>
                </c:pt>
                <c:pt idx="681">
                  <c:v>36769</c:v>
                </c:pt>
                <c:pt idx="682">
                  <c:v>36770</c:v>
                </c:pt>
                <c:pt idx="683">
                  <c:v>36773</c:v>
                </c:pt>
                <c:pt idx="684">
                  <c:v>36774</c:v>
                </c:pt>
                <c:pt idx="685">
                  <c:v>36775</c:v>
                </c:pt>
                <c:pt idx="686">
                  <c:v>36776</c:v>
                </c:pt>
                <c:pt idx="687">
                  <c:v>36777</c:v>
                </c:pt>
                <c:pt idx="688">
                  <c:v>36780</c:v>
                </c:pt>
                <c:pt idx="689">
                  <c:v>36781</c:v>
                </c:pt>
                <c:pt idx="690">
                  <c:v>36782</c:v>
                </c:pt>
                <c:pt idx="691">
                  <c:v>36783</c:v>
                </c:pt>
                <c:pt idx="692">
                  <c:v>36784</c:v>
                </c:pt>
                <c:pt idx="693">
                  <c:v>36787</c:v>
                </c:pt>
                <c:pt idx="694">
                  <c:v>36788</c:v>
                </c:pt>
                <c:pt idx="695">
                  <c:v>36789</c:v>
                </c:pt>
                <c:pt idx="696">
                  <c:v>36790</c:v>
                </c:pt>
                <c:pt idx="697">
                  <c:v>36791</c:v>
                </c:pt>
                <c:pt idx="698">
                  <c:v>36794</c:v>
                </c:pt>
                <c:pt idx="699">
                  <c:v>36795</c:v>
                </c:pt>
                <c:pt idx="700">
                  <c:v>36796</c:v>
                </c:pt>
                <c:pt idx="701">
                  <c:v>36797</c:v>
                </c:pt>
                <c:pt idx="702">
                  <c:v>36798</c:v>
                </c:pt>
                <c:pt idx="703">
                  <c:v>36801</c:v>
                </c:pt>
                <c:pt idx="704">
                  <c:v>36802</c:v>
                </c:pt>
                <c:pt idx="705">
                  <c:v>36803</c:v>
                </c:pt>
                <c:pt idx="706">
                  <c:v>36804</c:v>
                </c:pt>
                <c:pt idx="707">
                  <c:v>36805</c:v>
                </c:pt>
                <c:pt idx="708">
                  <c:v>36808</c:v>
                </c:pt>
                <c:pt idx="709">
                  <c:v>36809</c:v>
                </c:pt>
                <c:pt idx="710">
                  <c:v>36810</c:v>
                </c:pt>
                <c:pt idx="711">
                  <c:v>36811</c:v>
                </c:pt>
                <c:pt idx="712">
                  <c:v>36812</c:v>
                </c:pt>
                <c:pt idx="713">
                  <c:v>36815</c:v>
                </c:pt>
                <c:pt idx="714">
                  <c:v>36816</c:v>
                </c:pt>
                <c:pt idx="715">
                  <c:v>36817</c:v>
                </c:pt>
                <c:pt idx="716">
                  <c:v>36818</c:v>
                </c:pt>
                <c:pt idx="717">
                  <c:v>36819</c:v>
                </c:pt>
                <c:pt idx="718">
                  <c:v>36822</c:v>
                </c:pt>
                <c:pt idx="719">
                  <c:v>36823</c:v>
                </c:pt>
                <c:pt idx="720">
                  <c:v>36824</c:v>
                </c:pt>
                <c:pt idx="721">
                  <c:v>36825</c:v>
                </c:pt>
                <c:pt idx="722">
                  <c:v>36826</c:v>
                </c:pt>
                <c:pt idx="723">
                  <c:v>36829</c:v>
                </c:pt>
                <c:pt idx="724">
                  <c:v>36830</c:v>
                </c:pt>
                <c:pt idx="725">
                  <c:v>36831</c:v>
                </c:pt>
                <c:pt idx="726">
                  <c:v>36832</c:v>
                </c:pt>
                <c:pt idx="727">
                  <c:v>36833</c:v>
                </c:pt>
                <c:pt idx="728">
                  <c:v>36836</c:v>
                </c:pt>
                <c:pt idx="729">
                  <c:v>36837</c:v>
                </c:pt>
                <c:pt idx="730">
                  <c:v>36838</c:v>
                </c:pt>
                <c:pt idx="731">
                  <c:v>36839</c:v>
                </c:pt>
                <c:pt idx="732">
                  <c:v>36840</c:v>
                </c:pt>
                <c:pt idx="733">
                  <c:v>36843</c:v>
                </c:pt>
                <c:pt idx="734">
                  <c:v>36844</c:v>
                </c:pt>
                <c:pt idx="735">
                  <c:v>36845</c:v>
                </c:pt>
                <c:pt idx="736">
                  <c:v>36846</c:v>
                </c:pt>
                <c:pt idx="737">
                  <c:v>36847</c:v>
                </c:pt>
                <c:pt idx="738">
                  <c:v>36850</c:v>
                </c:pt>
                <c:pt idx="739">
                  <c:v>36851</c:v>
                </c:pt>
                <c:pt idx="740">
                  <c:v>36852</c:v>
                </c:pt>
                <c:pt idx="741">
                  <c:v>36853</c:v>
                </c:pt>
                <c:pt idx="742">
                  <c:v>36854</c:v>
                </c:pt>
                <c:pt idx="743">
                  <c:v>36857</c:v>
                </c:pt>
                <c:pt idx="744">
                  <c:v>36858</c:v>
                </c:pt>
                <c:pt idx="745">
                  <c:v>36859</c:v>
                </c:pt>
                <c:pt idx="746">
                  <c:v>36860</c:v>
                </c:pt>
                <c:pt idx="747">
                  <c:v>36861</c:v>
                </c:pt>
                <c:pt idx="748">
                  <c:v>36864</c:v>
                </c:pt>
                <c:pt idx="749">
                  <c:v>36865</c:v>
                </c:pt>
                <c:pt idx="750">
                  <c:v>36866</c:v>
                </c:pt>
                <c:pt idx="751">
                  <c:v>36867</c:v>
                </c:pt>
                <c:pt idx="752">
                  <c:v>36868</c:v>
                </c:pt>
                <c:pt idx="753">
                  <c:v>36871</c:v>
                </c:pt>
                <c:pt idx="754">
                  <c:v>36872</c:v>
                </c:pt>
                <c:pt idx="755">
                  <c:v>36873</c:v>
                </c:pt>
                <c:pt idx="756">
                  <c:v>36874</c:v>
                </c:pt>
                <c:pt idx="757">
                  <c:v>36875</c:v>
                </c:pt>
                <c:pt idx="758">
                  <c:v>36878</c:v>
                </c:pt>
                <c:pt idx="759">
                  <c:v>36879</c:v>
                </c:pt>
                <c:pt idx="760">
                  <c:v>36880</c:v>
                </c:pt>
                <c:pt idx="761">
                  <c:v>36881</c:v>
                </c:pt>
                <c:pt idx="762">
                  <c:v>36882</c:v>
                </c:pt>
                <c:pt idx="763">
                  <c:v>36886</c:v>
                </c:pt>
                <c:pt idx="764">
                  <c:v>36887</c:v>
                </c:pt>
                <c:pt idx="765">
                  <c:v>36888</c:v>
                </c:pt>
                <c:pt idx="766">
                  <c:v>36889</c:v>
                </c:pt>
                <c:pt idx="767">
                  <c:v>36893</c:v>
                </c:pt>
                <c:pt idx="768">
                  <c:v>36894</c:v>
                </c:pt>
                <c:pt idx="769">
                  <c:v>36895</c:v>
                </c:pt>
                <c:pt idx="770">
                  <c:v>36896</c:v>
                </c:pt>
                <c:pt idx="771">
                  <c:v>36899</c:v>
                </c:pt>
                <c:pt idx="772">
                  <c:v>36900</c:v>
                </c:pt>
                <c:pt idx="773">
                  <c:v>36901</c:v>
                </c:pt>
                <c:pt idx="774">
                  <c:v>36902</c:v>
                </c:pt>
                <c:pt idx="775">
                  <c:v>36903</c:v>
                </c:pt>
                <c:pt idx="776">
                  <c:v>36906</c:v>
                </c:pt>
                <c:pt idx="777">
                  <c:v>36907</c:v>
                </c:pt>
                <c:pt idx="778">
                  <c:v>36908</c:v>
                </c:pt>
                <c:pt idx="779">
                  <c:v>36909</c:v>
                </c:pt>
                <c:pt idx="780">
                  <c:v>36910</c:v>
                </c:pt>
                <c:pt idx="781">
                  <c:v>36913</c:v>
                </c:pt>
                <c:pt idx="782">
                  <c:v>36914</c:v>
                </c:pt>
                <c:pt idx="783">
                  <c:v>36915</c:v>
                </c:pt>
                <c:pt idx="784">
                  <c:v>36916</c:v>
                </c:pt>
                <c:pt idx="785">
                  <c:v>36917</c:v>
                </c:pt>
                <c:pt idx="786">
                  <c:v>36920</c:v>
                </c:pt>
                <c:pt idx="787">
                  <c:v>36921</c:v>
                </c:pt>
                <c:pt idx="788">
                  <c:v>36922</c:v>
                </c:pt>
                <c:pt idx="789">
                  <c:v>36923</c:v>
                </c:pt>
                <c:pt idx="790">
                  <c:v>36924</c:v>
                </c:pt>
                <c:pt idx="791">
                  <c:v>36927</c:v>
                </c:pt>
                <c:pt idx="792">
                  <c:v>36928</c:v>
                </c:pt>
                <c:pt idx="793">
                  <c:v>36929</c:v>
                </c:pt>
                <c:pt idx="794">
                  <c:v>36930</c:v>
                </c:pt>
                <c:pt idx="795">
                  <c:v>36931</c:v>
                </c:pt>
                <c:pt idx="796">
                  <c:v>36934</c:v>
                </c:pt>
                <c:pt idx="797">
                  <c:v>36935</c:v>
                </c:pt>
                <c:pt idx="798">
                  <c:v>36936</c:v>
                </c:pt>
                <c:pt idx="799">
                  <c:v>36937</c:v>
                </c:pt>
                <c:pt idx="800">
                  <c:v>36938</c:v>
                </c:pt>
                <c:pt idx="801">
                  <c:v>36941</c:v>
                </c:pt>
                <c:pt idx="802">
                  <c:v>36942</c:v>
                </c:pt>
                <c:pt idx="803">
                  <c:v>36943</c:v>
                </c:pt>
                <c:pt idx="804">
                  <c:v>36944</c:v>
                </c:pt>
                <c:pt idx="805">
                  <c:v>36945</c:v>
                </c:pt>
                <c:pt idx="806">
                  <c:v>36948</c:v>
                </c:pt>
                <c:pt idx="807">
                  <c:v>36949</c:v>
                </c:pt>
                <c:pt idx="808">
                  <c:v>36950</c:v>
                </c:pt>
                <c:pt idx="809">
                  <c:v>36951</c:v>
                </c:pt>
                <c:pt idx="810">
                  <c:v>36952</c:v>
                </c:pt>
                <c:pt idx="811">
                  <c:v>36955</c:v>
                </c:pt>
                <c:pt idx="812">
                  <c:v>36956</c:v>
                </c:pt>
                <c:pt idx="813">
                  <c:v>36957</c:v>
                </c:pt>
                <c:pt idx="814">
                  <c:v>36958</c:v>
                </c:pt>
                <c:pt idx="815">
                  <c:v>36959</c:v>
                </c:pt>
                <c:pt idx="816">
                  <c:v>36962</c:v>
                </c:pt>
                <c:pt idx="817">
                  <c:v>36963</c:v>
                </c:pt>
                <c:pt idx="818">
                  <c:v>36964</c:v>
                </c:pt>
                <c:pt idx="819">
                  <c:v>36965</c:v>
                </c:pt>
                <c:pt idx="820">
                  <c:v>36966</c:v>
                </c:pt>
                <c:pt idx="821">
                  <c:v>36969</c:v>
                </c:pt>
                <c:pt idx="822">
                  <c:v>36970</c:v>
                </c:pt>
                <c:pt idx="823">
                  <c:v>36971</c:v>
                </c:pt>
                <c:pt idx="824">
                  <c:v>36972</c:v>
                </c:pt>
                <c:pt idx="825">
                  <c:v>36973</c:v>
                </c:pt>
                <c:pt idx="826">
                  <c:v>36976</c:v>
                </c:pt>
                <c:pt idx="827">
                  <c:v>36977</c:v>
                </c:pt>
                <c:pt idx="828">
                  <c:v>36978</c:v>
                </c:pt>
                <c:pt idx="829">
                  <c:v>36979</c:v>
                </c:pt>
                <c:pt idx="830">
                  <c:v>36980</c:v>
                </c:pt>
                <c:pt idx="831">
                  <c:v>36983</c:v>
                </c:pt>
                <c:pt idx="832">
                  <c:v>36984</c:v>
                </c:pt>
                <c:pt idx="833">
                  <c:v>36985</c:v>
                </c:pt>
                <c:pt idx="834">
                  <c:v>36986</c:v>
                </c:pt>
                <c:pt idx="835">
                  <c:v>36987</c:v>
                </c:pt>
                <c:pt idx="836">
                  <c:v>36990</c:v>
                </c:pt>
                <c:pt idx="837">
                  <c:v>36991</c:v>
                </c:pt>
                <c:pt idx="838">
                  <c:v>36992</c:v>
                </c:pt>
                <c:pt idx="839">
                  <c:v>36993</c:v>
                </c:pt>
                <c:pt idx="840">
                  <c:v>36994</c:v>
                </c:pt>
                <c:pt idx="841">
                  <c:v>36997</c:v>
                </c:pt>
                <c:pt idx="842">
                  <c:v>36998</c:v>
                </c:pt>
                <c:pt idx="843">
                  <c:v>36999</c:v>
                </c:pt>
                <c:pt idx="844">
                  <c:v>37000</c:v>
                </c:pt>
                <c:pt idx="845">
                  <c:v>37001</c:v>
                </c:pt>
                <c:pt idx="846">
                  <c:v>37004</c:v>
                </c:pt>
                <c:pt idx="847">
                  <c:v>37005</c:v>
                </c:pt>
                <c:pt idx="848">
                  <c:v>37006</c:v>
                </c:pt>
                <c:pt idx="849">
                  <c:v>37007</c:v>
                </c:pt>
                <c:pt idx="850">
                  <c:v>37008</c:v>
                </c:pt>
                <c:pt idx="851">
                  <c:v>37011</c:v>
                </c:pt>
                <c:pt idx="852">
                  <c:v>37012</c:v>
                </c:pt>
                <c:pt idx="853">
                  <c:v>37013</c:v>
                </c:pt>
                <c:pt idx="854">
                  <c:v>37014</c:v>
                </c:pt>
                <c:pt idx="855">
                  <c:v>37015</c:v>
                </c:pt>
                <c:pt idx="856">
                  <c:v>37018</c:v>
                </c:pt>
                <c:pt idx="857">
                  <c:v>37019</c:v>
                </c:pt>
                <c:pt idx="858">
                  <c:v>37020</c:v>
                </c:pt>
                <c:pt idx="859">
                  <c:v>37021</c:v>
                </c:pt>
                <c:pt idx="860">
                  <c:v>37022</c:v>
                </c:pt>
                <c:pt idx="861">
                  <c:v>37025</c:v>
                </c:pt>
                <c:pt idx="862">
                  <c:v>37026</c:v>
                </c:pt>
                <c:pt idx="863">
                  <c:v>37027</c:v>
                </c:pt>
                <c:pt idx="864">
                  <c:v>37028</c:v>
                </c:pt>
                <c:pt idx="865">
                  <c:v>37029</c:v>
                </c:pt>
                <c:pt idx="866">
                  <c:v>37032</c:v>
                </c:pt>
                <c:pt idx="867">
                  <c:v>37033</c:v>
                </c:pt>
                <c:pt idx="868">
                  <c:v>37034</c:v>
                </c:pt>
                <c:pt idx="869">
                  <c:v>37035</c:v>
                </c:pt>
                <c:pt idx="870">
                  <c:v>37036</c:v>
                </c:pt>
                <c:pt idx="871">
                  <c:v>37040</c:v>
                </c:pt>
                <c:pt idx="872">
                  <c:v>37041</c:v>
                </c:pt>
                <c:pt idx="873">
                  <c:v>37042</c:v>
                </c:pt>
                <c:pt idx="874">
                  <c:v>37043</c:v>
                </c:pt>
                <c:pt idx="875">
                  <c:v>37046</c:v>
                </c:pt>
                <c:pt idx="876">
                  <c:v>37047</c:v>
                </c:pt>
                <c:pt idx="877">
                  <c:v>37048</c:v>
                </c:pt>
                <c:pt idx="878">
                  <c:v>37049</c:v>
                </c:pt>
                <c:pt idx="879">
                  <c:v>37050</c:v>
                </c:pt>
                <c:pt idx="880">
                  <c:v>37053</c:v>
                </c:pt>
                <c:pt idx="881">
                  <c:v>37054</c:v>
                </c:pt>
                <c:pt idx="882">
                  <c:v>37055</c:v>
                </c:pt>
                <c:pt idx="883">
                  <c:v>37056</c:v>
                </c:pt>
                <c:pt idx="884">
                  <c:v>37057</c:v>
                </c:pt>
                <c:pt idx="885">
                  <c:v>37060</c:v>
                </c:pt>
                <c:pt idx="886">
                  <c:v>37061</c:v>
                </c:pt>
                <c:pt idx="887">
                  <c:v>37062</c:v>
                </c:pt>
                <c:pt idx="888">
                  <c:v>37063</c:v>
                </c:pt>
                <c:pt idx="889">
                  <c:v>37064</c:v>
                </c:pt>
                <c:pt idx="890">
                  <c:v>37067</c:v>
                </c:pt>
                <c:pt idx="891">
                  <c:v>37068</c:v>
                </c:pt>
                <c:pt idx="892">
                  <c:v>37069</c:v>
                </c:pt>
                <c:pt idx="893">
                  <c:v>37070</c:v>
                </c:pt>
                <c:pt idx="894">
                  <c:v>37071</c:v>
                </c:pt>
                <c:pt idx="895">
                  <c:v>37074</c:v>
                </c:pt>
                <c:pt idx="896">
                  <c:v>37075</c:v>
                </c:pt>
                <c:pt idx="897">
                  <c:v>37076</c:v>
                </c:pt>
                <c:pt idx="898">
                  <c:v>37077</c:v>
                </c:pt>
                <c:pt idx="899">
                  <c:v>37078</c:v>
                </c:pt>
                <c:pt idx="900">
                  <c:v>37081</c:v>
                </c:pt>
                <c:pt idx="901">
                  <c:v>37082</c:v>
                </c:pt>
                <c:pt idx="902">
                  <c:v>37083</c:v>
                </c:pt>
                <c:pt idx="903">
                  <c:v>37084</c:v>
                </c:pt>
                <c:pt idx="904">
                  <c:v>37085</c:v>
                </c:pt>
                <c:pt idx="905">
                  <c:v>37088</c:v>
                </c:pt>
                <c:pt idx="906">
                  <c:v>37089</c:v>
                </c:pt>
                <c:pt idx="907">
                  <c:v>37090</c:v>
                </c:pt>
                <c:pt idx="908">
                  <c:v>37091</c:v>
                </c:pt>
                <c:pt idx="909">
                  <c:v>37092</c:v>
                </c:pt>
                <c:pt idx="910">
                  <c:v>37095</c:v>
                </c:pt>
                <c:pt idx="911">
                  <c:v>37096</c:v>
                </c:pt>
                <c:pt idx="912">
                  <c:v>37097</c:v>
                </c:pt>
                <c:pt idx="913">
                  <c:v>37098</c:v>
                </c:pt>
                <c:pt idx="914">
                  <c:v>37099</c:v>
                </c:pt>
                <c:pt idx="915">
                  <c:v>37102</c:v>
                </c:pt>
                <c:pt idx="916">
                  <c:v>37103</c:v>
                </c:pt>
                <c:pt idx="917">
                  <c:v>37104</c:v>
                </c:pt>
                <c:pt idx="918">
                  <c:v>37105</c:v>
                </c:pt>
                <c:pt idx="919">
                  <c:v>37106</c:v>
                </c:pt>
                <c:pt idx="920">
                  <c:v>37109</c:v>
                </c:pt>
                <c:pt idx="921">
                  <c:v>37110</c:v>
                </c:pt>
                <c:pt idx="922">
                  <c:v>37111</c:v>
                </c:pt>
                <c:pt idx="923">
                  <c:v>37112</c:v>
                </c:pt>
                <c:pt idx="924">
                  <c:v>37113</c:v>
                </c:pt>
                <c:pt idx="925">
                  <c:v>37116</c:v>
                </c:pt>
                <c:pt idx="926">
                  <c:v>37117</c:v>
                </c:pt>
                <c:pt idx="927">
                  <c:v>37118</c:v>
                </c:pt>
                <c:pt idx="928">
                  <c:v>37119</c:v>
                </c:pt>
                <c:pt idx="929">
                  <c:v>37120</c:v>
                </c:pt>
                <c:pt idx="930">
                  <c:v>37123</c:v>
                </c:pt>
                <c:pt idx="931">
                  <c:v>37124</c:v>
                </c:pt>
                <c:pt idx="932">
                  <c:v>37125</c:v>
                </c:pt>
                <c:pt idx="933">
                  <c:v>37126</c:v>
                </c:pt>
                <c:pt idx="934">
                  <c:v>37127</c:v>
                </c:pt>
                <c:pt idx="935">
                  <c:v>37130</c:v>
                </c:pt>
                <c:pt idx="936">
                  <c:v>37131</c:v>
                </c:pt>
                <c:pt idx="937">
                  <c:v>37132</c:v>
                </c:pt>
                <c:pt idx="938">
                  <c:v>37133</c:v>
                </c:pt>
                <c:pt idx="939">
                  <c:v>37134</c:v>
                </c:pt>
                <c:pt idx="940">
                  <c:v>37137</c:v>
                </c:pt>
                <c:pt idx="941">
                  <c:v>37138</c:v>
                </c:pt>
                <c:pt idx="942">
                  <c:v>37139</c:v>
                </c:pt>
                <c:pt idx="943">
                  <c:v>37140</c:v>
                </c:pt>
                <c:pt idx="944">
                  <c:v>37141</c:v>
                </c:pt>
                <c:pt idx="945">
                  <c:v>37144</c:v>
                </c:pt>
                <c:pt idx="946">
                  <c:v>37145</c:v>
                </c:pt>
                <c:pt idx="947">
                  <c:v>37146</c:v>
                </c:pt>
                <c:pt idx="948">
                  <c:v>37147</c:v>
                </c:pt>
                <c:pt idx="949">
                  <c:v>37148</c:v>
                </c:pt>
                <c:pt idx="950">
                  <c:v>37151</c:v>
                </c:pt>
                <c:pt idx="951">
                  <c:v>37152</c:v>
                </c:pt>
                <c:pt idx="952">
                  <c:v>37153</c:v>
                </c:pt>
                <c:pt idx="953">
                  <c:v>37154</c:v>
                </c:pt>
                <c:pt idx="954">
                  <c:v>37155</c:v>
                </c:pt>
                <c:pt idx="955">
                  <c:v>37158</c:v>
                </c:pt>
                <c:pt idx="956">
                  <c:v>37159</c:v>
                </c:pt>
                <c:pt idx="957">
                  <c:v>37160</c:v>
                </c:pt>
                <c:pt idx="958">
                  <c:v>37161</c:v>
                </c:pt>
                <c:pt idx="959">
                  <c:v>37162</c:v>
                </c:pt>
                <c:pt idx="960">
                  <c:v>37165</c:v>
                </c:pt>
                <c:pt idx="961">
                  <c:v>37166</c:v>
                </c:pt>
                <c:pt idx="962">
                  <c:v>37167</c:v>
                </c:pt>
                <c:pt idx="963">
                  <c:v>37168</c:v>
                </c:pt>
                <c:pt idx="964">
                  <c:v>37169</c:v>
                </c:pt>
                <c:pt idx="965">
                  <c:v>37172</c:v>
                </c:pt>
                <c:pt idx="966">
                  <c:v>37173</c:v>
                </c:pt>
                <c:pt idx="967">
                  <c:v>37174</c:v>
                </c:pt>
                <c:pt idx="968">
                  <c:v>37175</c:v>
                </c:pt>
                <c:pt idx="969">
                  <c:v>37176</c:v>
                </c:pt>
                <c:pt idx="970">
                  <c:v>37179</c:v>
                </c:pt>
                <c:pt idx="971">
                  <c:v>37180</c:v>
                </c:pt>
                <c:pt idx="972">
                  <c:v>37181</c:v>
                </c:pt>
                <c:pt idx="973">
                  <c:v>37182</c:v>
                </c:pt>
                <c:pt idx="974">
                  <c:v>37183</c:v>
                </c:pt>
                <c:pt idx="975">
                  <c:v>37186</c:v>
                </c:pt>
                <c:pt idx="976">
                  <c:v>37187</c:v>
                </c:pt>
                <c:pt idx="977">
                  <c:v>37188</c:v>
                </c:pt>
                <c:pt idx="978">
                  <c:v>37189</c:v>
                </c:pt>
                <c:pt idx="979">
                  <c:v>37190</c:v>
                </c:pt>
                <c:pt idx="980">
                  <c:v>37193</c:v>
                </c:pt>
                <c:pt idx="981">
                  <c:v>37194</c:v>
                </c:pt>
                <c:pt idx="982">
                  <c:v>37195</c:v>
                </c:pt>
                <c:pt idx="983">
                  <c:v>37196</c:v>
                </c:pt>
                <c:pt idx="984">
                  <c:v>37197</c:v>
                </c:pt>
                <c:pt idx="985">
                  <c:v>37200</c:v>
                </c:pt>
                <c:pt idx="986">
                  <c:v>37201</c:v>
                </c:pt>
                <c:pt idx="987">
                  <c:v>37202</c:v>
                </c:pt>
                <c:pt idx="988">
                  <c:v>37203</c:v>
                </c:pt>
                <c:pt idx="989">
                  <c:v>37204</c:v>
                </c:pt>
                <c:pt idx="990">
                  <c:v>37207</c:v>
                </c:pt>
                <c:pt idx="991">
                  <c:v>37208</c:v>
                </c:pt>
                <c:pt idx="992">
                  <c:v>37209</c:v>
                </c:pt>
                <c:pt idx="993">
                  <c:v>37210</c:v>
                </c:pt>
                <c:pt idx="994">
                  <c:v>37211</c:v>
                </c:pt>
                <c:pt idx="995">
                  <c:v>37214</c:v>
                </c:pt>
                <c:pt idx="996">
                  <c:v>37215</c:v>
                </c:pt>
                <c:pt idx="997">
                  <c:v>37216</c:v>
                </c:pt>
                <c:pt idx="998">
                  <c:v>37217</c:v>
                </c:pt>
                <c:pt idx="999">
                  <c:v>37218</c:v>
                </c:pt>
                <c:pt idx="1000">
                  <c:v>37221</c:v>
                </c:pt>
                <c:pt idx="1001">
                  <c:v>37222</c:v>
                </c:pt>
                <c:pt idx="1002">
                  <c:v>37223</c:v>
                </c:pt>
                <c:pt idx="1003">
                  <c:v>37224</c:v>
                </c:pt>
                <c:pt idx="1004">
                  <c:v>37225</c:v>
                </c:pt>
                <c:pt idx="1005">
                  <c:v>37228</c:v>
                </c:pt>
                <c:pt idx="1006">
                  <c:v>37229</c:v>
                </c:pt>
                <c:pt idx="1007">
                  <c:v>37230</c:v>
                </c:pt>
                <c:pt idx="1008">
                  <c:v>37231</c:v>
                </c:pt>
                <c:pt idx="1009">
                  <c:v>37232</c:v>
                </c:pt>
                <c:pt idx="1010">
                  <c:v>37235</c:v>
                </c:pt>
                <c:pt idx="1011">
                  <c:v>37236</c:v>
                </c:pt>
                <c:pt idx="1012">
                  <c:v>37237</c:v>
                </c:pt>
                <c:pt idx="1013">
                  <c:v>37238</c:v>
                </c:pt>
                <c:pt idx="1014">
                  <c:v>37239</c:v>
                </c:pt>
                <c:pt idx="1015">
                  <c:v>37242</c:v>
                </c:pt>
                <c:pt idx="1016">
                  <c:v>37243</c:v>
                </c:pt>
                <c:pt idx="1017">
                  <c:v>37244</c:v>
                </c:pt>
                <c:pt idx="1018">
                  <c:v>37245</c:v>
                </c:pt>
                <c:pt idx="1019">
                  <c:v>37246</c:v>
                </c:pt>
                <c:pt idx="1020">
                  <c:v>37249</c:v>
                </c:pt>
                <c:pt idx="1021">
                  <c:v>37251</c:v>
                </c:pt>
                <c:pt idx="1022">
                  <c:v>37252</c:v>
                </c:pt>
                <c:pt idx="1023">
                  <c:v>37253</c:v>
                </c:pt>
                <c:pt idx="1024">
                  <c:v>37256</c:v>
                </c:pt>
                <c:pt idx="1025">
                  <c:v>37258</c:v>
                </c:pt>
                <c:pt idx="1026">
                  <c:v>37259</c:v>
                </c:pt>
                <c:pt idx="1027">
                  <c:v>37260</c:v>
                </c:pt>
                <c:pt idx="1028">
                  <c:v>37263</c:v>
                </c:pt>
                <c:pt idx="1029">
                  <c:v>37264</c:v>
                </c:pt>
                <c:pt idx="1030">
                  <c:v>37265</c:v>
                </c:pt>
                <c:pt idx="1031">
                  <c:v>37266</c:v>
                </c:pt>
                <c:pt idx="1032">
                  <c:v>37267</c:v>
                </c:pt>
                <c:pt idx="1033">
                  <c:v>37270</c:v>
                </c:pt>
                <c:pt idx="1034">
                  <c:v>37271</c:v>
                </c:pt>
                <c:pt idx="1035">
                  <c:v>37272</c:v>
                </c:pt>
                <c:pt idx="1036">
                  <c:v>37273</c:v>
                </c:pt>
                <c:pt idx="1037">
                  <c:v>37274</c:v>
                </c:pt>
                <c:pt idx="1038">
                  <c:v>37277</c:v>
                </c:pt>
                <c:pt idx="1039">
                  <c:v>37278</c:v>
                </c:pt>
                <c:pt idx="1040">
                  <c:v>37279</c:v>
                </c:pt>
                <c:pt idx="1041">
                  <c:v>37280</c:v>
                </c:pt>
                <c:pt idx="1042">
                  <c:v>37281</c:v>
                </c:pt>
                <c:pt idx="1043">
                  <c:v>37284</c:v>
                </c:pt>
                <c:pt idx="1044">
                  <c:v>37285</c:v>
                </c:pt>
                <c:pt idx="1045">
                  <c:v>37286</c:v>
                </c:pt>
                <c:pt idx="1046">
                  <c:v>37287</c:v>
                </c:pt>
                <c:pt idx="1047">
                  <c:v>37288</c:v>
                </c:pt>
                <c:pt idx="1048">
                  <c:v>37291</c:v>
                </c:pt>
                <c:pt idx="1049">
                  <c:v>37292</c:v>
                </c:pt>
                <c:pt idx="1050">
                  <c:v>37293</c:v>
                </c:pt>
                <c:pt idx="1051">
                  <c:v>37294</c:v>
                </c:pt>
                <c:pt idx="1052">
                  <c:v>37295</c:v>
                </c:pt>
                <c:pt idx="1053">
                  <c:v>37298</c:v>
                </c:pt>
                <c:pt idx="1054">
                  <c:v>37299</c:v>
                </c:pt>
                <c:pt idx="1055">
                  <c:v>37300</c:v>
                </c:pt>
                <c:pt idx="1056">
                  <c:v>37301</c:v>
                </c:pt>
                <c:pt idx="1057">
                  <c:v>37302</c:v>
                </c:pt>
                <c:pt idx="1058">
                  <c:v>37305</c:v>
                </c:pt>
                <c:pt idx="1059">
                  <c:v>37306</c:v>
                </c:pt>
                <c:pt idx="1060">
                  <c:v>37307</c:v>
                </c:pt>
                <c:pt idx="1061">
                  <c:v>37308</c:v>
                </c:pt>
                <c:pt idx="1062">
                  <c:v>37309</c:v>
                </c:pt>
                <c:pt idx="1063">
                  <c:v>37312</c:v>
                </c:pt>
                <c:pt idx="1064">
                  <c:v>37313</c:v>
                </c:pt>
                <c:pt idx="1065">
                  <c:v>37314</c:v>
                </c:pt>
                <c:pt idx="1066">
                  <c:v>37315</c:v>
                </c:pt>
                <c:pt idx="1067">
                  <c:v>37316</c:v>
                </c:pt>
                <c:pt idx="1068">
                  <c:v>37319</c:v>
                </c:pt>
                <c:pt idx="1069">
                  <c:v>37320</c:v>
                </c:pt>
                <c:pt idx="1070">
                  <c:v>37321</c:v>
                </c:pt>
                <c:pt idx="1071">
                  <c:v>37322</c:v>
                </c:pt>
                <c:pt idx="1072">
                  <c:v>37323</c:v>
                </c:pt>
                <c:pt idx="1073">
                  <c:v>37326</c:v>
                </c:pt>
                <c:pt idx="1074">
                  <c:v>37327</c:v>
                </c:pt>
                <c:pt idx="1075">
                  <c:v>37328</c:v>
                </c:pt>
                <c:pt idx="1076">
                  <c:v>37329</c:v>
                </c:pt>
                <c:pt idx="1077">
                  <c:v>37330</c:v>
                </c:pt>
                <c:pt idx="1078">
                  <c:v>37333</c:v>
                </c:pt>
                <c:pt idx="1079">
                  <c:v>37334</c:v>
                </c:pt>
                <c:pt idx="1080">
                  <c:v>37335</c:v>
                </c:pt>
                <c:pt idx="1081">
                  <c:v>37336</c:v>
                </c:pt>
                <c:pt idx="1082">
                  <c:v>37337</c:v>
                </c:pt>
                <c:pt idx="1083">
                  <c:v>37340</c:v>
                </c:pt>
                <c:pt idx="1084">
                  <c:v>37341</c:v>
                </c:pt>
                <c:pt idx="1085">
                  <c:v>37342</c:v>
                </c:pt>
                <c:pt idx="1086">
                  <c:v>37343</c:v>
                </c:pt>
                <c:pt idx="1087">
                  <c:v>37344</c:v>
                </c:pt>
                <c:pt idx="1088">
                  <c:v>37347</c:v>
                </c:pt>
                <c:pt idx="1089">
                  <c:v>37348</c:v>
                </c:pt>
                <c:pt idx="1090">
                  <c:v>37349</c:v>
                </c:pt>
                <c:pt idx="1091">
                  <c:v>37350</c:v>
                </c:pt>
                <c:pt idx="1092">
                  <c:v>37351</c:v>
                </c:pt>
                <c:pt idx="1093">
                  <c:v>37354</c:v>
                </c:pt>
                <c:pt idx="1094">
                  <c:v>37355</c:v>
                </c:pt>
                <c:pt idx="1095">
                  <c:v>37356</c:v>
                </c:pt>
                <c:pt idx="1096">
                  <c:v>37357</c:v>
                </c:pt>
                <c:pt idx="1097">
                  <c:v>37358</c:v>
                </c:pt>
                <c:pt idx="1098">
                  <c:v>37361</c:v>
                </c:pt>
                <c:pt idx="1099">
                  <c:v>37362</c:v>
                </c:pt>
                <c:pt idx="1100">
                  <c:v>37363</c:v>
                </c:pt>
                <c:pt idx="1101">
                  <c:v>37364</c:v>
                </c:pt>
                <c:pt idx="1102">
                  <c:v>37365</c:v>
                </c:pt>
                <c:pt idx="1103">
                  <c:v>37368</c:v>
                </c:pt>
                <c:pt idx="1104">
                  <c:v>37369</c:v>
                </c:pt>
                <c:pt idx="1105">
                  <c:v>37370</c:v>
                </c:pt>
                <c:pt idx="1106">
                  <c:v>37371</c:v>
                </c:pt>
                <c:pt idx="1107">
                  <c:v>37372</c:v>
                </c:pt>
                <c:pt idx="1108">
                  <c:v>37375</c:v>
                </c:pt>
                <c:pt idx="1109">
                  <c:v>37376</c:v>
                </c:pt>
                <c:pt idx="1110">
                  <c:v>37377</c:v>
                </c:pt>
                <c:pt idx="1111">
                  <c:v>37378</c:v>
                </c:pt>
                <c:pt idx="1112">
                  <c:v>37379</c:v>
                </c:pt>
                <c:pt idx="1113">
                  <c:v>37382</c:v>
                </c:pt>
                <c:pt idx="1114">
                  <c:v>37383</c:v>
                </c:pt>
                <c:pt idx="1115">
                  <c:v>37384</c:v>
                </c:pt>
                <c:pt idx="1116">
                  <c:v>37385</c:v>
                </c:pt>
                <c:pt idx="1117">
                  <c:v>37386</c:v>
                </c:pt>
                <c:pt idx="1118">
                  <c:v>37389</c:v>
                </c:pt>
                <c:pt idx="1119">
                  <c:v>37390</c:v>
                </c:pt>
                <c:pt idx="1120">
                  <c:v>37391</c:v>
                </c:pt>
                <c:pt idx="1121">
                  <c:v>37392</c:v>
                </c:pt>
                <c:pt idx="1122">
                  <c:v>37393</c:v>
                </c:pt>
                <c:pt idx="1123">
                  <c:v>37396</c:v>
                </c:pt>
                <c:pt idx="1124">
                  <c:v>37397</c:v>
                </c:pt>
                <c:pt idx="1125">
                  <c:v>37398</c:v>
                </c:pt>
                <c:pt idx="1126">
                  <c:v>37399</c:v>
                </c:pt>
                <c:pt idx="1127">
                  <c:v>37400</c:v>
                </c:pt>
                <c:pt idx="1128">
                  <c:v>37403</c:v>
                </c:pt>
                <c:pt idx="1129">
                  <c:v>37404</c:v>
                </c:pt>
                <c:pt idx="1130">
                  <c:v>37405</c:v>
                </c:pt>
                <c:pt idx="1131">
                  <c:v>37406</c:v>
                </c:pt>
                <c:pt idx="1132">
                  <c:v>37407</c:v>
                </c:pt>
                <c:pt idx="1133">
                  <c:v>37410</c:v>
                </c:pt>
                <c:pt idx="1134">
                  <c:v>37411</c:v>
                </c:pt>
                <c:pt idx="1135">
                  <c:v>37412</c:v>
                </c:pt>
                <c:pt idx="1136">
                  <c:v>37413</c:v>
                </c:pt>
                <c:pt idx="1137">
                  <c:v>37414</c:v>
                </c:pt>
                <c:pt idx="1138">
                  <c:v>37417</c:v>
                </c:pt>
                <c:pt idx="1139">
                  <c:v>37418</c:v>
                </c:pt>
                <c:pt idx="1140">
                  <c:v>37419</c:v>
                </c:pt>
                <c:pt idx="1141">
                  <c:v>37420</c:v>
                </c:pt>
                <c:pt idx="1142">
                  <c:v>37421</c:v>
                </c:pt>
                <c:pt idx="1143">
                  <c:v>37424</c:v>
                </c:pt>
                <c:pt idx="1144">
                  <c:v>37425</c:v>
                </c:pt>
                <c:pt idx="1145">
                  <c:v>37426</c:v>
                </c:pt>
                <c:pt idx="1146">
                  <c:v>37427</c:v>
                </c:pt>
                <c:pt idx="1147">
                  <c:v>37428</c:v>
                </c:pt>
                <c:pt idx="1148">
                  <c:v>37431</c:v>
                </c:pt>
                <c:pt idx="1149">
                  <c:v>37432</c:v>
                </c:pt>
                <c:pt idx="1150">
                  <c:v>37433</c:v>
                </c:pt>
                <c:pt idx="1151">
                  <c:v>37434</c:v>
                </c:pt>
                <c:pt idx="1152">
                  <c:v>37435</c:v>
                </c:pt>
                <c:pt idx="1153">
                  <c:v>37438</c:v>
                </c:pt>
                <c:pt idx="1154">
                  <c:v>37439</c:v>
                </c:pt>
                <c:pt idx="1155">
                  <c:v>37440</c:v>
                </c:pt>
                <c:pt idx="1156">
                  <c:v>37441</c:v>
                </c:pt>
                <c:pt idx="1157">
                  <c:v>37442</c:v>
                </c:pt>
                <c:pt idx="1158">
                  <c:v>37445</c:v>
                </c:pt>
                <c:pt idx="1159">
                  <c:v>37446</c:v>
                </c:pt>
                <c:pt idx="1160">
                  <c:v>37447</c:v>
                </c:pt>
                <c:pt idx="1161">
                  <c:v>37448</c:v>
                </c:pt>
                <c:pt idx="1162">
                  <c:v>37449</c:v>
                </c:pt>
                <c:pt idx="1163">
                  <c:v>37452</c:v>
                </c:pt>
                <c:pt idx="1164">
                  <c:v>37453</c:v>
                </c:pt>
                <c:pt idx="1165">
                  <c:v>37454</c:v>
                </c:pt>
                <c:pt idx="1166">
                  <c:v>37455</c:v>
                </c:pt>
                <c:pt idx="1167">
                  <c:v>37456</c:v>
                </c:pt>
                <c:pt idx="1168">
                  <c:v>37459</c:v>
                </c:pt>
                <c:pt idx="1169">
                  <c:v>37460</c:v>
                </c:pt>
                <c:pt idx="1170">
                  <c:v>37461</c:v>
                </c:pt>
                <c:pt idx="1171">
                  <c:v>37462</c:v>
                </c:pt>
                <c:pt idx="1172">
                  <c:v>37463</c:v>
                </c:pt>
                <c:pt idx="1173">
                  <c:v>37466</c:v>
                </c:pt>
                <c:pt idx="1174">
                  <c:v>37467</c:v>
                </c:pt>
                <c:pt idx="1175">
                  <c:v>37468</c:v>
                </c:pt>
                <c:pt idx="1176">
                  <c:v>37469</c:v>
                </c:pt>
                <c:pt idx="1177">
                  <c:v>37470</c:v>
                </c:pt>
                <c:pt idx="1178">
                  <c:v>37473</c:v>
                </c:pt>
                <c:pt idx="1179">
                  <c:v>37474</c:v>
                </c:pt>
                <c:pt idx="1180">
                  <c:v>37475</c:v>
                </c:pt>
                <c:pt idx="1181">
                  <c:v>37476</c:v>
                </c:pt>
                <c:pt idx="1182">
                  <c:v>37477</c:v>
                </c:pt>
                <c:pt idx="1183">
                  <c:v>37480</c:v>
                </c:pt>
                <c:pt idx="1184">
                  <c:v>37481</c:v>
                </c:pt>
                <c:pt idx="1185">
                  <c:v>37482</c:v>
                </c:pt>
                <c:pt idx="1186">
                  <c:v>37483</c:v>
                </c:pt>
                <c:pt idx="1187">
                  <c:v>37484</c:v>
                </c:pt>
                <c:pt idx="1188">
                  <c:v>37487</c:v>
                </c:pt>
                <c:pt idx="1189">
                  <c:v>37488</c:v>
                </c:pt>
                <c:pt idx="1190">
                  <c:v>37489</c:v>
                </c:pt>
                <c:pt idx="1191">
                  <c:v>37490</c:v>
                </c:pt>
                <c:pt idx="1192">
                  <c:v>37491</c:v>
                </c:pt>
                <c:pt idx="1193">
                  <c:v>37494</c:v>
                </c:pt>
                <c:pt idx="1194">
                  <c:v>37495</c:v>
                </c:pt>
                <c:pt idx="1195">
                  <c:v>37496</c:v>
                </c:pt>
                <c:pt idx="1196">
                  <c:v>37497</c:v>
                </c:pt>
                <c:pt idx="1197">
                  <c:v>37498</c:v>
                </c:pt>
                <c:pt idx="1198">
                  <c:v>37501</c:v>
                </c:pt>
                <c:pt idx="1199">
                  <c:v>37502</c:v>
                </c:pt>
                <c:pt idx="1200">
                  <c:v>37503</c:v>
                </c:pt>
                <c:pt idx="1201">
                  <c:v>37504</c:v>
                </c:pt>
                <c:pt idx="1202">
                  <c:v>37505</c:v>
                </c:pt>
                <c:pt idx="1203">
                  <c:v>37508</c:v>
                </c:pt>
                <c:pt idx="1204">
                  <c:v>37509</c:v>
                </c:pt>
                <c:pt idx="1205">
                  <c:v>37510</c:v>
                </c:pt>
                <c:pt idx="1206">
                  <c:v>37511</c:v>
                </c:pt>
                <c:pt idx="1207">
                  <c:v>37512</c:v>
                </c:pt>
                <c:pt idx="1208">
                  <c:v>37515</c:v>
                </c:pt>
                <c:pt idx="1209">
                  <c:v>37516</c:v>
                </c:pt>
                <c:pt idx="1210">
                  <c:v>37517</c:v>
                </c:pt>
                <c:pt idx="1211">
                  <c:v>37518</c:v>
                </c:pt>
                <c:pt idx="1212">
                  <c:v>37519</c:v>
                </c:pt>
                <c:pt idx="1213">
                  <c:v>37522</c:v>
                </c:pt>
                <c:pt idx="1214">
                  <c:v>37523</c:v>
                </c:pt>
                <c:pt idx="1215">
                  <c:v>37524</c:v>
                </c:pt>
                <c:pt idx="1216">
                  <c:v>37525</c:v>
                </c:pt>
                <c:pt idx="1217">
                  <c:v>37526</c:v>
                </c:pt>
                <c:pt idx="1218">
                  <c:v>37529</c:v>
                </c:pt>
                <c:pt idx="1219">
                  <c:v>37530</c:v>
                </c:pt>
                <c:pt idx="1220">
                  <c:v>37531</c:v>
                </c:pt>
                <c:pt idx="1221">
                  <c:v>37532</c:v>
                </c:pt>
                <c:pt idx="1222">
                  <c:v>37533</c:v>
                </c:pt>
                <c:pt idx="1223">
                  <c:v>37536</c:v>
                </c:pt>
                <c:pt idx="1224">
                  <c:v>37537</c:v>
                </c:pt>
                <c:pt idx="1225">
                  <c:v>37538</c:v>
                </c:pt>
                <c:pt idx="1226">
                  <c:v>37539</c:v>
                </c:pt>
                <c:pt idx="1227">
                  <c:v>37540</c:v>
                </c:pt>
                <c:pt idx="1228">
                  <c:v>37543</c:v>
                </c:pt>
                <c:pt idx="1229">
                  <c:v>37544</c:v>
                </c:pt>
                <c:pt idx="1230">
                  <c:v>37545</c:v>
                </c:pt>
                <c:pt idx="1231">
                  <c:v>37546</c:v>
                </c:pt>
                <c:pt idx="1232">
                  <c:v>37547</c:v>
                </c:pt>
                <c:pt idx="1233">
                  <c:v>37550</c:v>
                </c:pt>
                <c:pt idx="1234">
                  <c:v>37551</c:v>
                </c:pt>
                <c:pt idx="1235">
                  <c:v>37552</c:v>
                </c:pt>
                <c:pt idx="1236">
                  <c:v>37553</c:v>
                </c:pt>
                <c:pt idx="1237">
                  <c:v>37554</c:v>
                </c:pt>
                <c:pt idx="1238">
                  <c:v>37557</c:v>
                </c:pt>
                <c:pt idx="1239">
                  <c:v>37558</c:v>
                </c:pt>
                <c:pt idx="1240">
                  <c:v>37559</c:v>
                </c:pt>
                <c:pt idx="1241">
                  <c:v>37560</c:v>
                </c:pt>
                <c:pt idx="1242">
                  <c:v>37561</c:v>
                </c:pt>
                <c:pt idx="1243">
                  <c:v>37564</c:v>
                </c:pt>
                <c:pt idx="1244">
                  <c:v>37565</c:v>
                </c:pt>
                <c:pt idx="1245">
                  <c:v>37566</c:v>
                </c:pt>
                <c:pt idx="1246">
                  <c:v>37567</c:v>
                </c:pt>
                <c:pt idx="1247">
                  <c:v>37568</c:v>
                </c:pt>
                <c:pt idx="1248">
                  <c:v>37571</c:v>
                </c:pt>
                <c:pt idx="1249">
                  <c:v>37572</c:v>
                </c:pt>
                <c:pt idx="1250">
                  <c:v>37573</c:v>
                </c:pt>
                <c:pt idx="1251">
                  <c:v>37574</c:v>
                </c:pt>
                <c:pt idx="1252">
                  <c:v>37575</c:v>
                </c:pt>
                <c:pt idx="1253">
                  <c:v>37578</c:v>
                </c:pt>
                <c:pt idx="1254">
                  <c:v>37579</c:v>
                </c:pt>
                <c:pt idx="1255">
                  <c:v>37580</c:v>
                </c:pt>
                <c:pt idx="1256">
                  <c:v>37581</c:v>
                </c:pt>
                <c:pt idx="1257">
                  <c:v>37582</c:v>
                </c:pt>
                <c:pt idx="1258">
                  <c:v>37585</c:v>
                </c:pt>
                <c:pt idx="1259">
                  <c:v>37586</c:v>
                </c:pt>
                <c:pt idx="1260">
                  <c:v>37587</c:v>
                </c:pt>
                <c:pt idx="1261">
                  <c:v>37588</c:v>
                </c:pt>
                <c:pt idx="1262">
                  <c:v>37589</c:v>
                </c:pt>
                <c:pt idx="1263">
                  <c:v>37592</c:v>
                </c:pt>
                <c:pt idx="1264">
                  <c:v>37593</c:v>
                </c:pt>
                <c:pt idx="1265">
                  <c:v>37594</c:v>
                </c:pt>
                <c:pt idx="1266">
                  <c:v>37595</c:v>
                </c:pt>
                <c:pt idx="1267">
                  <c:v>37596</c:v>
                </c:pt>
                <c:pt idx="1268">
                  <c:v>37599</c:v>
                </c:pt>
                <c:pt idx="1269">
                  <c:v>37600</c:v>
                </c:pt>
                <c:pt idx="1270">
                  <c:v>37601</c:v>
                </c:pt>
                <c:pt idx="1271">
                  <c:v>37602</c:v>
                </c:pt>
                <c:pt idx="1272">
                  <c:v>37603</c:v>
                </c:pt>
                <c:pt idx="1273">
                  <c:v>37606</c:v>
                </c:pt>
                <c:pt idx="1274">
                  <c:v>37607</c:v>
                </c:pt>
                <c:pt idx="1275">
                  <c:v>37608</c:v>
                </c:pt>
                <c:pt idx="1276">
                  <c:v>37609</c:v>
                </c:pt>
                <c:pt idx="1277">
                  <c:v>37610</c:v>
                </c:pt>
                <c:pt idx="1278">
                  <c:v>37613</c:v>
                </c:pt>
                <c:pt idx="1279">
                  <c:v>37614</c:v>
                </c:pt>
                <c:pt idx="1280">
                  <c:v>37616</c:v>
                </c:pt>
                <c:pt idx="1281">
                  <c:v>37617</c:v>
                </c:pt>
                <c:pt idx="1282">
                  <c:v>37620</c:v>
                </c:pt>
                <c:pt idx="1283">
                  <c:v>37621</c:v>
                </c:pt>
                <c:pt idx="1284">
                  <c:v>37623</c:v>
                </c:pt>
                <c:pt idx="1285">
                  <c:v>37624</c:v>
                </c:pt>
                <c:pt idx="1286">
                  <c:v>37627</c:v>
                </c:pt>
                <c:pt idx="1287">
                  <c:v>37628</c:v>
                </c:pt>
                <c:pt idx="1288">
                  <c:v>37629</c:v>
                </c:pt>
                <c:pt idx="1289">
                  <c:v>37630</c:v>
                </c:pt>
                <c:pt idx="1290">
                  <c:v>37631</c:v>
                </c:pt>
                <c:pt idx="1291">
                  <c:v>37634</c:v>
                </c:pt>
                <c:pt idx="1292">
                  <c:v>37635</c:v>
                </c:pt>
                <c:pt idx="1293">
                  <c:v>37636</c:v>
                </c:pt>
                <c:pt idx="1294">
                  <c:v>37637</c:v>
                </c:pt>
                <c:pt idx="1295">
                  <c:v>37638</c:v>
                </c:pt>
                <c:pt idx="1296">
                  <c:v>37641</c:v>
                </c:pt>
                <c:pt idx="1297">
                  <c:v>37642</c:v>
                </c:pt>
                <c:pt idx="1298">
                  <c:v>37643</c:v>
                </c:pt>
                <c:pt idx="1299">
                  <c:v>37644</c:v>
                </c:pt>
                <c:pt idx="1300">
                  <c:v>37645</c:v>
                </c:pt>
                <c:pt idx="1301">
                  <c:v>37648</c:v>
                </c:pt>
                <c:pt idx="1302">
                  <c:v>37649</c:v>
                </c:pt>
                <c:pt idx="1303">
                  <c:v>37650</c:v>
                </c:pt>
                <c:pt idx="1304">
                  <c:v>37651</c:v>
                </c:pt>
                <c:pt idx="1305">
                  <c:v>37652</c:v>
                </c:pt>
                <c:pt idx="1306">
                  <c:v>37655</c:v>
                </c:pt>
                <c:pt idx="1307">
                  <c:v>37656</c:v>
                </c:pt>
                <c:pt idx="1308">
                  <c:v>37657</c:v>
                </c:pt>
                <c:pt idx="1309">
                  <c:v>37658</c:v>
                </c:pt>
                <c:pt idx="1310">
                  <c:v>37659</c:v>
                </c:pt>
                <c:pt idx="1311">
                  <c:v>37662</c:v>
                </c:pt>
                <c:pt idx="1312">
                  <c:v>37663</c:v>
                </c:pt>
                <c:pt idx="1313">
                  <c:v>37664</c:v>
                </c:pt>
                <c:pt idx="1314">
                  <c:v>37665</c:v>
                </c:pt>
                <c:pt idx="1315">
                  <c:v>37666</c:v>
                </c:pt>
                <c:pt idx="1316">
                  <c:v>37669</c:v>
                </c:pt>
                <c:pt idx="1317">
                  <c:v>37670</c:v>
                </c:pt>
                <c:pt idx="1318">
                  <c:v>37671</c:v>
                </c:pt>
                <c:pt idx="1319">
                  <c:v>37672</c:v>
                </c:pt>
                <c:pt idx="1320">
                  <c:v>37673</c:v>
                </c:pt>
                <c:pt idx="1321">
                  <c:v>37676</c:v>
                </c:pt>
                <c:pt idx="1322">
                  <c:v>37677</c:v>
                </c:pt>
                <c:pt idx="1323">
                  <c:v>37678</c:v>
                </c:pt>
                <c:pt idx="1324">
                  <c:v>37679</c:v>
                </c:pt>
                <c:pt idx="1325">
                  <c:v>37680</c:v>
                </c:pt>
                <c:pt idx="1326">
                  <c:v>37683</c:v>
                </c:pt>
                <c:pt idx="1327">
                  <c:v>37684</c:v>
                </c:pt>
                <c:pt idx="1328">
                  <c:v>37685</c:v>
                </c:pt>
                <c:pt idx="1329">
                  <c:v>37686</c:v>
                </c:pt>
                <c:pt idx="1330">
                  <c:v>37687</c:v>
                </c:pt>
                <c:pt idx="1331">
                  <c:v>37690</c:v>
                </c:pt>
                <c:pt idx="1332">
                  <c:v>37691</c:v>
                </c:pt>
                <c:pt idx="1333">
                  <c:v>37692</c:v>
                </c:pt>
                <c:pt idx="1334">
                  <c:v>37693</c:v>
                </c:pt>
                <c:pt idx="1335">
                  <c:v>37694</c:v>
                </c:pt>
                <c:pt idx="1336">
                  <c:v>37697</c:v>
                </c:pt>
                <c:pt idx="1337">
                  <c:v>37698</c:v>
                </c:pt>
                <c:pt idx="1338">
                  <c:v>37699</c:v>
                </c:pt>
                <c:pt idx="1339">
                  <c:v>37700</c:v>
                </c:pt>
                <c:pt idx="1340">
                  <c:v>37701</c:v>
                </c:pt>
                <c:pt idx="1341">
                  <c:v>37704</c:v>
                </c:pt>
                <c:pt idx="1342">
                  <c:v>37705</c:v>
                </c:pt>
                <c:pt idx="1343">
                  <c:v>37706</c:v>
                </c:pt>
                <c:pt idx="1344">
                  <c:v>37707</c:v>
                </c:pt>
                <c:pt idx="1345">
                  <c:v>37708</c:v>
                </c:pt>
                <c:pt idx="1346">
                  <c:v>37711</c:v>
                </c:pt>
                <c:pt idx="1347">
                  <c:v>37712</c:v>
                </c:pt>
                <c:pt idx="1348">
                  <c:v>37713</c:v>
                </c:pt>
                <c:pt idx="1349">
                  <c:v>37714</c:v>
                </c:pt>
                <c:pt idx="1350">
                  <c:v>37715</c:v>
                </c:pt>
                <c:pt idx="1351">
                  <c:v>37718</c:v>
                </c:pt>
                <c:pt idx="1352">
                  <c:v>37719</c:v>
                </c:pt>
                <c:pt idx="1353">
                  <c:v>37720</c:v>
                </c:pt>
                <c:pt idx="1354">
                  <c:v>37721</c:v>
                </c:pt>
                <c:pt idx="1355">
                  <c:v>37722</c:v>
                </c:pt>
                <c:pt idx="1356">
                  <c:v>37725</c:v>
                </c:pt>
                <c:pt idx="1357">
                  <c:v>37726</c:v>
                </c:pt>
                <c:pt idx="1358">
                  <c:v>37727</c:v>
                </c:pt>
                <c:pt idx="1359">
                  <c:v>37728</c:v>
                </c:pt>
                <c:pt idx="1360">
                  <c:v>37729</c:v>
                </c:pt>
                <c:pt idx="1361">
                  <c:v>37732</c:v>
                </c:pt>
                <c:pt idx="1362">
                  <c:v>37733</c:v>
                </c:pt>
                <c:pt idx="1363">
                  <c:v>37734</c:v>
                </c:pt>
                <c:pt idx="1364">
                  <c:v>37735</c:v>
                </c:pt>
                <c:pt idx="1365">
                  <c:v>37736</c:v>
                </c:pt>
                <c:pt idx="1366">
                  <c:v>37739</c:v>
                </c:pt>
                <c:pt idx="1367">
                  <c:v>37740</c:v>
                </c:pt>
                <c:pt idx="1368">
                  <c:v>37741</c:v>
                </c:pt>
                <c:pt idx="1369">
                  <c:v>37742</c:v>
                </c:pt>
                <c:pt idx="1370">
                  <c:v>37743</c:v>
                </c:pt>
                <c:pt idx="1371">
                  <c:v>37746</c:v>
                </c:pt>
                <c:pt idx="1372">
                  <c:v>37747</c:v>
                </c:pt>
                <c:pt idx="1373">
                  <c:v>37748</c:v>
                </c:pt>
                <c:pt idx="1374">
                  <c:v>37749</c:v>
                </c:pt>
                <c:pt idx="1375">
                  <c:v>37750</c:v>
                </c:pt>
                <c:pt idx="1376">
                  <c:v>37753</c:v>
                </c:pt>
                <c:pt idx="1377">
                  <c:v>37754</c:v>
                </c:pt>
                <c:pt idx="1378">
                  <c:v>37755</c:v>
                </c:pt>
                <c:pt idx="1379">
                  <c:v>37756</c:v>
                </c:pt>
                <c:pt idx="1380">
                  <c:v>37757</c:v>
                </c:pt>
                <c:pt idx="1381">
                  <c:v>37760</c:v>
                </c:pt>
                <c:pt idx="1382">
                  <c:v>37761</c:v>
                </c:pt>
                <c:pt idx="1383">
                  <c:v>37762</c:v>
                </c:pt>
                <c:pt idx="1384">
                  <c:v>37763</c:v>
                </c:pt>
                <c:pt idx="1385">
                  <c:v>37764</c:v>
                </c:pt>
                <c:pt idx="1386">
                  <c:v>37767</c:v>
                </c:pt>
                <c:pt idx="1387">
                  <c:v>37768</c:v>
                </c:pt>
                <c:pt idx="1388">
                  <c:v>37769</c:v>
                </c:pt>
                <c:pt idx="1389">
                  <c:v>37770</c:v>
                </c:pt>
                <c:pt idx="1390">
                  <c:v>37771</c:v>
                </c:pt>
                <c:pt idx="1391">
                  <c:v>37774</c:v>
                </c:pt>
                <c:pt idx="1392">
                  <c:v>37775</c:v>
                </c:pt>
                <c:pt idx="1393">
                  <c:v>37776</c:v>
                </c:pt>
                <c:pt idx="1394">
                  <c:v>37777</c:v>
                </c:pt>
                <c:pt idx="1395">
                  <c:v>37778</c:v>
                </c:pt>
                <c:pt idx="1396">
                  <c:v>37781</c:v>
                </c:pt>
                <c:pt idx="1397">
                  <c:v>37782</c:v>
                </c:pt>
                <c:pt idx="1398">
                  <c:v>37783</c:v>
                </c:pt>
                <c:pt idx="1399">
                  <c:v>37784</c:v>
                </c:pt>
                <c:pt idx="1400">
                  <c:v>37785</c:v>
                </c:pt>
                <c:pt idx="1401">
                  <c:v>37788</c:v>
                </c:pt>
                <c:pt idx="1402">
                  <c:v>37789</c:v>
                </c:pt>
                <c:pt idx="1403">
                  <c:v>37790</c:v>
                </c:pt>
                <c:pt idx="1404">
                  <c:v>37791</c:v>
                </c:pt>
                <c:pt idx="1405">
                  <c:v>37792</c:v>
                </c:pt>
                <c:pt idx="1406">
                  <c:v>37795</c:v>
                </c:pt>
                <c:pt idx="1407">
                  <c:v>37796</c:v>
                </c:pt>
                <c:pt idx="1408">
                  <c:v>37797</c:v>
                </c:pt>
                <c:pt idx="1409">
                  <c:v>37798</c:v>
                </c:pt>
                <c:pt idx="1410">
                  <c:v>37799</c:v>
                </c:pt>
                <c:pt idx="1411">
                  <c:v>37802</c:v>
                </c:pt>
                <c:pt idx="1412">
                  <c:v>37803</c:v>
                </c:pt>
                <c:pt idx="1413">
                  <c:v>37804</c:v>
                </c:pt>
                <c:pt idx="1414">
                  <c:v>37805</c:v>
                </c:pt>
                <c:pt idx="1415">
                  <c:v>37806</c:v>
                </c:pt>
                <c:pt idx="1416">
                  <c:v>37809</c:v>
                </c:pt>
                <c:pt idx="1417">
                  <c:v>37810</c:v>
                </c:pt>
                <c:pt idx="1418">
                  <c:v>37811</c:v>
                </c:pt>
                <c:pt idx="1419">
                  <c:v>37812</c:v>
                </c:pt>
                <c:pt idx="1420">
                  <c:v>37813</c:v>
                </c:pt>
                <c:pt idx="1421">
                  <c:v>37816</c:v>
                </c:pt>
                <c:pt idx="1422">
                  <c:v>37817</c:v>
                </c:pt>
                <c:pt idx="1423">
                  <c:v>37818</c:v>
                </c:pt>
                <c:pt idx="1424">
                  <c:v>37819</c:v>
                </c:pt>
                <c:pt idx="1425">
                  <c:v>37820</c:v>
                </c:pt>
                <c:pt idx="1426">
                  <c:v>37823</c:v>
                </c:pt>
                <c:pt idx="1427">
                  <c:v>37824</c:v>
                </c:pt>
                <c:pt idx="1428">
                  <c:v>37825</c:v>
                </c:pt>
                <c:pt idx="1429">
                  <c:v>37826</c:v>
                </c:pt>
                <c:pt idx="1430">
                  <c:v>37827</c:v>
                </c:pt>
                <c:pt idx="1431">
                  <c:v>37830</c:v>
                </c:pt>
                <c:pt idx="1432">
                  <c:v>37831</c:v>
                </c:pt>
                <c:pt idx="1433">
                  <c:v>37832</c:v>
                </c:pt>
                <c:pt idx="1434">
                  <c:v>37833</c:v>
                </c:pt>
                <c:pt idx="1435">
                  <c:v>37834</c:v>
                </c:pt>
                <c:pt idx="1436">
                  <c:v>37837</c:v>
                </c:pt>
                <c:pt idx="1437">
                  <c:v>37838</c:v>
                </c:pt>
                <c:pt idx="1438">
                  <c:v>37839</c:v>
                </c:pt>
                <c:pt idx="1439">
                  <c:v>37840</c:v>
                </c:pt>
                <c:pt idx="1440">
                  <c:v>37841</c:v>
                </c:pt>
                <c:pt idx="1441">
                  <c:v>37844</c:v>
                </c:pt>
                <c:pt idx="1442">
                  <c:v>37845</c:v>
                </c:pt>
                <c:pt idx="1443">
                  <c:v>37846</c:v>
                </c:pt>
                <c:pt idx="1444">
                  <c:v>37847</c:v>
                </c:pt>
                <c:pt idx="1445">
                  <c:v>37848</c:v>
                </c:pt>
                <c:pt idx="1446">
                  <c:v>37851</c:v>
                </c:pt>
                <c:pt idx="1447">
                  <c:v>37852</c:v>
                </c:pt>
                <c:pt idx="1448">
                  <c:v>37853</c:v>
                </c:pt>
                <c:pt idx="1449">
                  <c:v>37854</c:v>
                </c:pt>
                <c:pt idx="1450">
                  <c:v>37855</c:v>
                </c:pt>
                <c:pt idx="1451">
                  <c:v>37858</c:v>
                </c:pt>
                <c:pt idx="1452">
                  <c:v>37859</c:v>
                </c:pt>
                <c:pt idx="1453">
                  <c:v>37860</c:v>
                </c:pt>
                <c:pt idx="1454">
                  <c:v>37861</c:v>
                </c:pt>
                <c:pt idx="1455">
                  <c:v>37862</c:v>
                </c:pt>
                <c:pt idx="1456">
                  <c:v>37865</c:v>
                </c:pt>
                <c:pt idx="1457">
                  <c:v>37866</c:v>
                </c:pt>
                <c:pt idx="1458">
                  <c:v>37867</c:v>
                </c:pt>
                <c:pt idx="1459">
                  <c:v>37868</c:v>
                </c:pt>
                <c:pt idx="1460">
                  <c:v>37869</c:v>
                </c:pt>
                <c:pt idx="1461">
                  <c:v>37872</c:v>
                </c:pt>
                <c:pt idx="1462">
                  <c:v>37873</c:v>
                </c:pt>
                <c:pt idx="1463">
                  <c:v>37874</c:v>
                </c:pt>
                <c:pt idx="1464">
                  <c:v>37875</c:v>
                </c:pt>
                <c:pt idx="1465">
                  <c:v>37876</c:v>
                </c:pt>
                <c:pt idx="1466">
                  <c:v>37879</c:v>
                </c:pt>
                <c:pt idx="1467">
                  <c:v>37880</c:v>
                </c:pt>
                <c:pt idx="1468">
                  <c:v>37881</c:v>
                </c:pt>
                <c:pt idx="1469">
                  <c:v>37882</c:v>
                </c:pt>
                <c:pt idx="1470">
                  <c:v>37883</c:v>
                </c:pt>
                <c:pt idx="1471">
                  <c:v>37886</c:v>
                </c:pt>
                <c:pt idx="1472">
                  <c:v>37887</c:v>
                </c:pt>
                <c:pt idx="1473">
                  <c:v>37888</c:v>
                </c:pt>
                <c:pt idx="1474">
                  <c:v>37889</c:v>
                </c:pt>
                <c:pt idx="1475">
                  <c:v>37890</c:v>
                </c:pt>
                <c:pt idx="1476">
                  <c:v>37893</c:v>
                </c:pt>
                <c:pt idx="1477">
                  <c:v>37894</c:v>
                </c:pt>
                <c:pt idx="1478">
                  <c:v>37895</c:v>
                </c:pt>
                <c:pt idx="1479">
                  <c:v>37896</c:v>
                </c:pt>
                <c:pt idx="1480">
                  <c:v>37897</c:v>
                </c:pt>
                <c:pt idx="1481">
                  <c:v>37900</c:v>
                </c:pt>
                <c:pt idx="1482">
                  <c:v>37901</c:v>
                </c:pt>
                <c:pt idx="1483">
                  <c:v>37902</c:v>
                </c:pt>
                <c:pt idx="1484">
                  <c:v>37903</c:v>
                </c:pt>
                <c:pt idx="1485">
                  <c:v>37904</c:v>
                </c:pt>
                <c:pt idx="1486">
                  <c:v>37907</c:v>
                </c:pt>
                <c:pt idx="1487">
                  <c:v>37908</c:v>
                </c:pt>
                <c:pt idx="1488">
                  <c:v>37909</c:v>
                </c:pt>
                <c:pt idx="1489">
                  <c:v>37910</c:v>
                </c:pt>
                <c:pt idx="1490">
                  <c:v>37911</c:v>
                </c:pt>
                <c:pt idx="1491">
                  <c:v>37914</c:v>
                </c:pt>
                <c:pt idx="1492">
                  <c:v>37915</c:v>
                </c:pt>
                <c:pt idx="1493">
                  <c:v>37916</c:v>
                </c:pt>
                <c:pt idx="1494">
                  <c:v>37917</c:v>
                </c:pt>
                <c:pt idx="1495">
                  <c:v>37918</c:v>
                </c:pt>
                <c:pt idx="1496">
                  <c:v>37921</c:v>
                </c:pt>
                <c:pt idx="1497">
                  <c:v>37922</c:v>
                </c:pt>
                <c:pt idx="1498">
                  <c:v>37923</c:v>
                </c:pt>
                <c:pt idx="1499">
                  <c:v>37924</c:v>
                </c:pt>
                <c:pt idx="1500">
                  <c:v>37925</c:v>
                </c:pt>
                <c:pt idx="1501">
                  <c:v>37928</c:v>
                </c:pt>
                <c:pt idx="1502">
                  <c:v>37929</c:v>
                </c:pt>
                <c:pt idx="1503">
                  <c:v>37930</c:v>
                </c:pt>
                <c:pt idx="1504">
                  <c:v>37931</c:v>
                </c:pt>
                <c:pt idx="1505">
                  <c:v>37932</c:v>
                </c:pt>
                <c:pt idx="1506">
                  <c:v>37935</c:v>
                </c:pt>
                <c:pt idx="1507">
                  <c:v>37936</c:v>
                </c:pt>
                <c:pt idx="1508">
                  <c:v>37937</c:v>
                </c:pt>
                <c:pt idx="1509">
                  <c:v>37938</c:v>
                </c:pt>
                <c:pt idx="1510">
                  <c:v>37939</c:v>
                </c:pt>
                <c:pt idx="1511">
                  <c:v>37942</c:v>
                </c:pt>
                <c:pt idx="1512">
                  <c:v>37943</c:v>
                </c:pt>
                <c:pt idx="1513">
                  <c:v>37944</c:v>
                </c:pt>
                <c:pt idx="1514">
                  <c:v>37945</c:v>
                </c:pt>
                <c:pt idx="1515">
                  <c:v>37946</c:v>
                </c:pt>
                <c:pt idx="1516">
                  <c:v>37949</c:v>
                </c:pt>
                <c:pt idx="1517">
                  <c:v>37950</c:v>
                </c:pt>
                <c:pt idx="1518">
                  <c:v>37951</c:v>
                </c:pt>
                <c:pt idx="1519">
                  <c:v>37952</c:v>
                </c:pt>
                <c:pt idx="1520">
                  <c:v>37953</c:v>
                </c:pt>
                <c:pt idx="1521">
                  <c:v>37956</c:v>
                </c:pt>
                <c:pt idx="1522">
                  <c:v>37957</c:v>
                </c:pt>
                <c:pt idx="1523">
                  <c:v>37958</c:v>
                </c:pt>
                <c:pt idx="1524">
                  <c:v>37959</c:v>
                </c:pt>
                <c:pt idx="1525">
                  <c:v>37960</c:v>
                </c:pt>
                <c:pt idx="1526">
                  <c:v>37963</c:v>
                </c:pt>
                <c:pt idx="1527">
                  <c:v>37964</c:v>
                </c:pt>
                <c:pt idx="1528">
                  <c:v>37965</c:v>
                </c:pt>
                <c:pt idx="1529">
                  <c:v>37966</c:v>
                </c:pt>
                <c:pt idx="1530">
                  <c:v>37967</c:v>
                </c:pt>
                <c:pt idx="1531">
                  <c:v>37970</c:v>
                </c:pt>
                <c:pt idx="1532">
                  <c:v>37971</c:v>
                </c:pt>
                <c:pt idx="1533">
                  <c:v>37972</c:v>
                </c:pt>
                <c:pt idx="1534">
                  <c:v>37973</c:v>
                </c:pt>
                <c:pt idx="1535">
                  <c:v>37974</c:v>
                </c:pt>
                <c:pt idx="1536">
                  <c:v>37977</c:v>
                </c:pt>
                <c:pt idx="1537">
                  <c:v>37978</c:v>
                </c:pt>
                <c:pt idx="1538">
                  <c:v>37979</c:v>
                </c:pt>
                <c:pt idx="1539">
                  <c:v>37984</c:v>
                </c:pt>
                <c:pt idx="1540">
                  <c:v>37985</c:v>
                </c:pt>
                <c:pt idx="1541">
                  <c:v>37986</c:v>
                </c:pt>
                <c:pt idx="1542">
                  <c:v>37988</c:v>
                </c:pt>
                <c:pt idx="1543">
                  <c:v>37991</c:v>
                </c:pt>
                <c:pt idx="1544">
                  <c:v>37992</c:v>
                </c:pt>
                <c:pt idx="1545">
                  <c:v>37993</c:v>
                </c:pt>
                <c:pt idx="1546">
                  <c:v>37994</c:v>
                </c:pt>
                <c:pt idx="1547">
                  <c:v>37995</c:v>
                </c:pt>
                <c:pt idx="1548">
                  <c:v>37998</c:v>
                </c:pt>
                <c:pt idx="1549">
                  <c:v>37999</c:v>
                </c:pt>
                <c:pt idx="1550">
                  <c:v>38000</c:v>
                </c:pt>
                <c:pt idx="1551">
                  <c:v>38001</c:v>
                </c:pt>
                <c:pt idx="1552">
                  <c:v>38002</c:v>
                </c:pt>
                <c:pt idx="1553">
                  <c:v>38005</c:v>
                </c:pt>
                <c:pt idx="1554">
                  <c:v>38006</c:v>
                </c:pt>
                <c:pt idx="1555">
                  <c:v>38007</c:v>
                </c:pt>
                <c:pt idx="1556">
                  <c:v>38008</c:v>
                </c:pt>
                <c:pt idx="1557">
                  <c:v>38009</c:v>
                </c:pt>
                <c:pt idx="1558">
                  <c:v>38012</c:v>
                </c:pt>
                <c:pt idx="1559">
                  <c:v>38013</c:v>
                </c:pt>
                <c:pt idx="1560">
                  <c:v>38014</c:v>
                </c:pt>
                <c:pt idx="1561">
                  <c:v>38015</c:v>
                </c:pt>
                <c:pt idx="1562">
                  <c:v>38016</c:v>
                </c:pt>
                <c:pt idx="1563">
                  <c:v>38019</c:v>
                </c:pt>
                <c:pt idx="1564">
                  <c:v>38020</c:v>
                </c:pt>
                <c:pt idx="1565">
                  <c:v>38021</c:v>
                </c:pt>
                <c:pt idx="1566">
                  <c:v>38022</c:v>
                </c:pt>
                <c:pt idx="1567">
                  <c:v>38023</c:v>
                </c:pt>
                <c:pt idx="1568">
                  <c:v>38026</c:v>
                </c:pt>
                <c:pt idx="1569">
                  <c:v>38027</c:v>
                </c:pt>
                <c:pt idx="1570">
                  <c:v>38028</c:v>
                </c:pt>
                <c:pt idx="1571">
                  <c:v>38029</c:v>
                </c:pt>
                <c:pt idx="1572">
                  <c:v>38030</c:v>
                </c:pt>
                <c:pt idx="1573">
                  <c:v>38033</c:v>
                </c:pt>
                <c:pt idx="1574">
                  <c:v>38034</c:v>
                </c:pt>
                <c:pt idx="1575">
                  <c:v>38035</c:v>
                </c:pt>
                <c:pt idx="1576">
                  <c:v>38036</c:v>
                </c:pt>
                <c:pt idx="1577">
                  <c:v>38037</c:v>
                </c:pt>
                <c:pt idx="1578">
                  <c:v>38040</c:v>
                </c:pt>
                <c:pt idx="1579">
                  <c:v>38041</c:v>
                </c:pt>
                <c:pt idx="1580">
                  <c:v>38042</c:v>
                </c:pt>
                <c:pt idx="1581">
                  <c:v>38043</c:v>
                </c:pt>
                <c:pt idx="1582">
                  <c:v>38044</c:v>
                </c:pt>
                <c:pt idx="1583">
                  <c:v>38047</c:v>
                </c:pt>
                <c:pt idx="1584">
                  <c:v>38048</c:v>
                </c:pt>
                <c:pt idx="1585">
                  <c:v>38049</c:v>
                </c:pt>
                <c:pt idx="1586">
                  <c:v>38050</c:v>
                </c:pt>
                <c:pt idx="1587">
                  <c:v>38051</c:v>
                </c:pt>
                <c:pt idx="1588">
                  <c:v>38054</c:v>
                </c:pt>
                <c:pt idx="1589">
                  <c:v>38055</c:v>
                </c:pt>
                <c:pt idx="1590">
                  <c:v>38056</c:v>
                </c:pt>
                <c:pt idx="1591">
                  <c:v>38057</c:v>
                </c:pt>
                <c:pt idx="1592">
                  <c:v>38058</c:v>
                </c:pt>
                <c:pt idx="1593">
                  <c:v>38061</c:v>
                </c:pt>
                <c:pt idx="1594">
                  <c:v>38062</c:v>
                </c:pt>
                <c:pt idx="1595">
                  <c:v>38063</c:v>
                </c:pt>
                <c:pt idx="1596">
                  <c:v>38064</c:v>
                </c:pt>
                <c:pt idx="1597">
                  <c:v>38065</c:v>
                </c:pt>
                <c:pt idx="1598">
                  <c:v>38068</c:v>
                </c:pt>
                <c:pt idx="1599">
                  <c:v>38069</c:v>
                </c:pt>
                <c:pt idx="1600">
                  <c:v>38070</c:v>
                </c:pt>
                <c:pt idx="1601">
                  <c:v>38071</c:v>
                </c:pt>
                <c:pt idx="1602">
                  <c:v>38072</c:v>
                </c:pt>
                <c:pt idx="1603">
                  <c:v>38075</c:v>
                </c:pt>
                <c:pt idx="1604">
                  <c:v>38076</c:v>
                </c:pt>
                <c:pt idx="1605">
                  <c:v>38077</c:v>
                </c:pt>
                <c:pt idx="1606">
                  <c:v>38078</c:v>
                </c:pt>
                <c:pt idx="1607">
                  <c:v>38079</c:v>
                </c:pt>
                <c:pt idx="1608">
                  <c:v>38082</c:v>
                </c:pt>
                <c:pt idx="1609">
                  <c:v>38083</c:v>
                </c:pt>
                <c:pt idx="1610">
                  <c:v>38084</c:v>
                </c:pt>
                <c:pt idx="1611">
                  <c:v>38085</c:v>
                </c:pt>
                <c:pt idx="1612">
                  <c:v>38086</c:v>
                </c:pt>
                <c:pt idx="1613">
                  <c:v>38089</c:v>
                </c:pt>
                <c:pt idx="1614">
                  <c:v>38090</c:v>
                </c:pt>
                <c:pt idx="1615">
                  <c:v>38091</c:v>
                </c:pt>
                <c:pt idx="1616">
                  <c:v>38092</c:v>
                </c:pt>
                <c:pt idx="1617">
                  <c:v>38093</c:v>
                </c:pt>
                <c:pt idx="1618">
                  <c:v>38096</c:v>
                </c:pt>
                <c:pt idx="1619">
                  <c:v>38097</c:v>
                </c:pt>
                <c:pt idx="1620">
                  <c:v>38098</c:v>
                </c:pt>
                <c:pt idx="1621">
                  <c:v>38099</c:v>
                </c:pt>
                <c:pt idx="1622">
                  <c:v>38100</c:v>
                </c:pt>
                <c:pt idx="1623">
                  <c:v>38103</c:v>
                </c:pt>
                <c:pt idx="1624">
                  <c:v>38104</c:v>
                </c:pt>
                <c:pt idx="1625">
                  <c:v>38105</c:v>
                </c:pt>
                <c:pt idx="1626">
                  <c:v>38106</c:v>
                </c:pt>
                <c:pt idx="1627">
                  <c:v>38107</c:v>
                </c:pt>
                <c:pt idx="1628">
                  <c:v>38110</c:v>
                </c:pt>
                <c:pt idx="1629">
                  <c:v>38111</c:v>
                </c:pt>
                <c:pt idx="1630">
                  <c:v>38112</c:v>
                </c:pt>
                <c:pt idx="1631">
                  <c:v>38113</c:v>
                </c:pt>
                <c:pt idx="1632">
                  <c:v>38114</c:v>
                </c:pt>
                <c:pt idx="1633">
                  <c:v>38117</c:v>
                </c:pt>
                <c:pt idx="1634">
                  <c:v>38118</c:v>
                </c:pt>
                <c:pt idx="1635">
                  <c:v>38119</c:v>
                </c:pt>
                <c:pt idx="1636">
                  <c:v>38120</c:v>
                </c:pt>
                <c:pt idx="1637">
                  <c:v>38121</c:v>
                </c:pt>
                <c:pt idx="1638">
                  <c:v>38124</c:v>
                </c:pt>
                <c:pt idx="1639">
                  <c:v>38125</c:v>
                </c:pt>
                <c:pt idx="1640">
                  <c:v>38126</c:v>
                </c:pt>
                <c:pt idx="1641">
                  <c:v>38127</c:v>
                </c:pt>
                <c:pt idx="1642">
                  <c:v>38128</c:v>
                </c:pt>
                <c:pt idx="1643">
                  <c:v>38131</c:v>
                </c:pt>
                <c:pt idx="1644">
                  <c:v>38132</c:v>
                </c:pt>
                <c:pt idx="1645">
                  <c:v>38133</c:v>
                </c:pt>
                <c:pt idx="1646">
                  <c:v>38134</c:v>
                </c:pt>
                <c:pt idx="1647">
                  <c:v>38135</c:v>
                </c:pt>
                <c:pt idx="1648">
                  <c:v>38138</c:v>
                </c:pt>
                <c:pt idx="1649">
                  <c:v>38139</c:v>
                </c:pt>
                <c:pt idx="1650">
                  <c:v>38140</c:v>
                </c:pt>
                <c:pt idx="1651">
                  <c:v>38141</c:v>
                </c:pt>
                <c:pt idx="1652">
                  <c:v>38142</c:v>
                </c:pt>
                <c:pt idx="1653">
                  <c:v>38145</c:v>
                </c:pt>
                <c:pt idx="1654">
                  <c:v>38146</c:v>
                </c:pt>
                <c:pt idx="1655">
                  <c:v>38147</c:v>
                </c:pt>
                <c:pt idx="1656">
                  <c:v>38148</c:v>
                </c:pt>
                <c:pt idx="1657">
                  <c:v>38149</c:v>
                </c:pt>
                <c:pt idx="1658">
                  <c:v>38152</c:v>
                </c:pt>
                <c:pt idx="1659">
                  <c:v>38153</c:v>
                </c:pt>
                <c:pt idx="1660">
                  <c:v>38154</c:v>
                </c:pt>
                <c:pt idx="1661">
                  <c:v>38155</c:v>
                </c:pt>
                <c:pt idx="1662">
                  <c:v>38156</c:v>
                </c:pt>
                <c:pt idx="1663">
                  <c:v>38159</c:v>
                </c:pt>
                <c:pt idx="1664">
                  <c:v>38160</c:v>
                </c:pt>
                <c:pt idx="1665">
                  <c:v>38161</c:v>
                </c:pt>
                <c:pt idx="1666">
                  <c:v>38162</c:v>
                </c:pt>
                <c:pt idx="1667">
                  <c:v>38163</c:v>
                </c:pt>
                <c:pt idx="1668">
                  <c:v>38166</c:v>
                </c:pt>
                <c:pt idx="1669">
                  <c:v>38167</c:v>
                </c:pt>
                <c:pt idx="1670">
                  <c:v>38168</c:v>
                </c:pt>
                <c:pt idx="1671">
                  <c:v>38169</c:v>
                </c:pt>
                <c:pt idx="1672">
                  <c:v>38170</c:v>
                </c:pt>
                <c:pt idx="1673">
                  <c:v>38173</c:v>
                </c:pt>
                <c:pt idx="1674">
                  <c:v>38174</c:v>
                </c:pt>
                <c:pt idx="1675">
                  <c:v>38175</c:v>
                </c:pt>
                <c:pt idx="1676">
                  <c:v>38176</c:v>
                </c:pt>
                <c:pt idx="1677">
                  <c:v>38177</c:v>
                </c:pt>
                <c:pt idx="1678">
                  <c:v>38180</c:v>
                </c:pt>
                <c:pt idx="1679">
                  <c:v>38181</c:v>
                </c:pt>
                <c:pt idx="1680">
                  <c:v>38182</c:v>
                </c:pt>
                <c:pt idx="1681">
                  <c:v>38183</c:v>
                </c:pt>
                <c:pt idx="1682">
                  <c:v>38184</c:v>
                </c:pt>
                <c:pt idx="1683">
                  <c:v>38187</c:v>
                </c:pt>
                <c:pt idx="1684">
                  <c:v>38188</c:v>
                </c:pt>
                <c:pt idx="1685">
                  <c:v>38189</c:v>
                </c:pt>
                <c:pt idx="1686">
                  <c:v>38190</c:v>
                </c:pt>
                <c:pt idx="1687">
                  <c:v>38191</c:v>
                </c:pt>
                <c:pt idx="1688">
                  <c:v>38194</c:v>
                </c:pt>
                <c:pt idx="1689">
                  <c:v>38195</c:v>
                </c:pt>
                <c:pt idx="1690">
                  <c:v>38196</c:v>
                </c:pt>
                <c:pt idx="1691">
                  <c:v>38197</c:v>
                </c:pt>
                <c:pt idx="1692">
                  <c:v>38198</c:v>
                </c:pt>
                <c:pt idx="1693">
                  <c:v>38201</c:v>
                </c:pt>
                <c:pt idx="1694">
                  <c:v>38202</c:v>
                </c:pt>
                <c:pt idx="1695">
                  <c:v>38203</c:v>
                </c:pt>
                <c:pt idx="1696">
                  <c:v>38204</c:v>
                </c:pt>
                <c:pt idx="1697">
                  <c:v>38205</c:v>
                </c:pt>
                <c:pt idx="1698">
                  <c:v>38208</c:v>
                </c:pt>
                <c:pt idx="1699">
                  <c:v>38209</c:v>
                </c:pt>
                <c:pt idx="1700">
                  <c:v>38210</c:v>
                </c:pt>
                <c:pt idx="1701">
                  <c:v>38211</c:v>
                </c:pt>
                <c:pt idx="1702">
                  <c:v>38212</c:v>
                </c:pt>
                <c:pt idx="1703">
                  <c:v>38215</c:v>
                </c:pt>
                <c:pt idx="1704">
                  <c:v>38216</c:v>
                </c:pt>
                <c:pt idx="1705">
                  <c:v>38217</c:v>
                </c:pt>
                <c:pt idx="1706">
                  <c:v>38218</c:v>
                </c:pt>
                <c:pt idx="1707">
                  <c:v>38219</c:v>
                </c:pt>
                <c:pt idx="1708">
                  <c:v>38222</c:v>
                </c:pt>
                <c:pt idx="1709">
                  <c:v>38223</c:v>
                </c:pt>
                <c:pt idx="1710">
                  <c:v>38224</c:v>
                </c:pt>
                <c:pt idx="1711">
                  <c:v>38225</c:v>
                </c:pt>
                <c:pt idx="1712">
                  <c:v>38226</c:v>
                </c:pt>
                <c:pt idx="1713">
                  <c:v>38229</c:v>
                </c:pt>
                <c:pt idx="1714">
                  <c:v>38230</c:v>
                </c:pt>
                <c:pt idx="1715">
                  <c:v>38231</c:v>
                </c:pt>
                <c:pt idx="1716">
                  <c:v>38232</c:v>
                </c:pt>
                <c:pt idx="1717">
                  <c:v>38233</c:v>
                </c:pt>
                <c:pt idx="1718">
                  <c:v>38236</c:v>
                </c:pt>
                <c:pt idx="1719">
                  <c:v>38237</c:v>
                </c:pt>
                <c:pt idx="1720">
                  <c:v>38238</c:v>
                </c:pt>
                <c:pt idx="1721">
                  <c:v>38239</c:v>
                </c:pt>
                <c:pt idx="1722">
                  <c:v>38240</c:v>
                </c:pt>
                <c:pt idx="1723">
                  <c:v>38243</c:v>
                </c:pt>
                <c:pt idx="1724">
                  <c:v>38244</c:v>
                </c:pt>
                <c:pt idx="1725">
                  <c:v>38245</c:v>
                </c:pt>
                <c:pt idx="1726">
                  <c:v>38246</c:v>
                </c:pt>
                <c:pt idx="1727">
                  <c:v>38247</c:v>
                </c:pt>
                <c:pt idx="1728">
                  <c:v>38250</c:v>
                </c:pt>
                <c:pt idx="1729">
                  <c:v>38251</c:v>
                </c:pt>
                <c:pt idx="1730">
                  <c:v>38252</c:v>
                </c:pt>
                <c:pt idx="1731">
                  <c:v>38253</c:v>
                </c:pt>
                <c:pt idx="1732">
                  <c:v>38254</c:v>
                </c:pt>
                <c:pt idx="1733">
                  <c:v>38257</c:v>
                </c:pt>
                <c:pt idx="1734">
                  <c:v>38258</c:v>
                </c:pt>
                <c:pt idx="1735">
                  <c:v>38259</c:v>
                </c:pt>
                <c:pt idx="1736">
                  <c:v>38260</c:v>
                </c:pt>
                <c:pt idx="1737">
                  <c:v>38261</c:v>
                </c:pt>
                <c:pt idx="1738">
                  <c:v>38264</c:v>
                </c:pt>
                <c:pt idx="1739">
                  <c:v>38265</c:v>
                </c:pt>
                <c:pt idx="1740">
                  <c:v>38266</c:v>
                </c:pt>
                <c:pt idx="1741">
                  <c:v>38267</c:v>
                </c:pt>
                <c:pt idx="1742">
                  <c:v>38268</c:v>
                </c:pt>
                <c:pt idx="1743">
                  <c:v>38271</c:v>
                </c:pt>
                <c:pt idx="1744">
                  <c:v>38272</c:v>
                </c:pt>
                <c:pt idx="1745">
                  <c:v>38273</c:v>
                </c:pt>
                <c:pt idx="1746">
                  <c:v>38274</c:v>
                </c:pt>
                <c:pt idx="1747">
                  <c:v>38275</c:v>
                </c:pt>
                <c:pt idx="1748">
                  <c:v>38278</c:v>
                </c:pt>
                <c:pt idx="1749">
                  <c:v>38279</c:v>
                </c:pt>
                <c:pt idx="1750">
                  <c:v>38280</c:v>
                </c:pt>
                <c:pt idx="1751">
                  <c:v>38281</c:v>
                </c:pt>
                <c:pt idx="1752">
                  <c:v>38282</c:v>
                </c:pt>
                <c:pt idx="1753">
                  <c:v>38285</c:v>
                </c:pt>
                <c:pt idx="1754">
                  <c:v>38286</c:v>
                </c:pt>
                <c:pt idx="1755">
                  <c:v>38287</c:v>
                </c:pt>
                <c:pt idx="1756">
                  <c:v>38288</c:v>
                </c:pt>
                <c:pt idx="1757">
                  <c:v>38289</c:v>
                </c:pt>
                <c:pt idx="1758">
                  <c:v>38292</c:v>
                </c:pt>
                <c:pt idx="1759">
                  <c:v>38293</c:v>
                </c:pt>
                <c:pt idx="1760">
                  <c:v>38294</c:v>
                </c:pt>
                <c:pt idx="1761">
                  <c:v>38295</c:v>
                </c:pt>
                <c:pt idx="1762">
                  <c:v>38296</c:v>
                </c:pt>
                <c:pt idx="1763">
                  <c:v>38299</c:v>
                </c:pt>
                <c:pt idx="1764">
                  <c:v>38300</c:v>
                </c:pt>
                <c:pt idx="1765">
                  <c:v>38301</c:v>
                </c:pt>
                <c:pt idx="1766">
                  <c:v>38302</c:v>
                </c:pt>
                <c:pt idx="1767">
                  <c:v>38303</c:v>
                </c:pt>
                <c:pt idx="1768">
                  <c:v>38306</c:v>
                </c:pt>
                <c:pt idx="1769">
                  <c:v>38307</c:v>
                </c:pt>
                <c:pt idx="1770">
                  <c:v>38308</c:v>
                </c:pt>
                <c:pt idx="1771">
                  <c:v>38309</c:v>
                </c:pt>
                <c:pt idx="1772">
                  <c:v>38310</c:v>
                </c:pt>
                <c:pt idx="1773">
                  <c:v>38313</c:v>
                </c:pt>
                <c:pt idx="1774">
                  <c:v>38314</c:v>
                </c:pt>
                <c:pt idx="1775">
                  <c:v>38315</c:v>
                </c:pt>
                <c:pt idx="1776">
                  <c:v>38316</c:v>
                </c:pt>
                <c:pt idx="1777">
                  <c:v>38317</c:v>
                </c:pt>
                <c:pt idx="1778">
                  <c:v>38320</c:v>
                </c:pt>
                <c:pt idx="1779">
                  <c:v>38321</c:v>
                </c:pt>
                <c:pt idx="1780">
                  <c:v>38322</c:v>
                </c:pt>
                <c:pt idx="1781">
                  <c:v>38323</c:v>
                </c:pt>
                <c:pt idx="1782">
                  <c:v>38324</c:v>
                </c:pt>
                <c:pt idx="1783">
                  <c:v>38327</c:v>
                </c:pt>
                <c:pt idx="1784">
                  <c:v>38328</c:v>
                </c:pt>
                <c:pt idx="1785">
                  <c:v>38329</c:v>
                </c:pt>
                <c:pt idx="1786">
                  <c:v>38330</c:v>
                </c:pt>
                <c:pt idx="1787">
                  <c:v>38331</c:v>
                </c:pt>
                <c:pt idx="1788">
                  <c:v>38334</c:v>
                </c:pt>
                <c:pt idx="1789">
                  <c:v>38335</c:v>
                </c:pt>
                <c:pt idx="1790">
                  <c:v>38336</c:v>
                </c:pt>
                <c:pt idx="1791">
                  <c:v>38337</c:v>
                </c:pt>
                <c:pt idx="1792">
                  <c:v>38338</c:v>
                </c:pt>
                <c:pt idx="1793">
                  <c:v>38341</c:v>
                </c:pt>
                <c:pt idx="1794">
                  <c:v>38342</c:v>
                </c:pt>
                <c:pt idx="1795">
                  <c:v>38343</c:v>
                </c:pt>
                <c:pt idx="1796">
                  <c:v>38344</c:v>
                </c:pt>
                <c:pt idx="1797">
                  <c:v>38345</c:v>
                </c:pt>
                <c:pt idx="1798">
                  <c:v>38348</c:v>
                </c:pt>
                <c:pt idx="1799">
                  <c:v>38349</c:v>
                </c:pt>
                <c:pt idx="1800">
                  <c:v>38350</c:v>
                </c:pt>
                <c:pt idx="1801">
                  <c:v>38351</c:v>
                </c:pt>
                <c:pt idx="1802">
                  <c:v>38352</c:v>
                </c:pt>
                <c:pt idx="1803">
                  <c:v>38355</c:v>
                </c:pt>
                <c:pt idx="1804">
                  <c:v>38356</c:v>
                </c:pt>
                <c:pt idx="1805">
                  <c:v>38357</c:v>
                </c:pt>
                <c:pt idx="1806">
                  <c:v>38358</c:v>
                </c:pt>
                <c:pt idx="1807">
                  <c:v>38359</c:v>
                </c:pt>
                <c:pt idx="1808">
                  <c:v>38362</c:v>
                </c:pt>
                <c:pt idx="1809">
                  <c:v>38363</c:v>
                </c:pt>
                <c:pt idx="1810">
                  <c:v>38364</c:v>
                </c:pt>
                <c:pt idx="1811">
                  <c:v>38365</c:v>
                </c:pt>
                <c:pt idx="1812">
                  <c:v>38366</c:v>
                </c:pt>
                <c:pt idx="1813">
                  <c:v>38369</c:v>
                </c:pt>
                <c:pt idx="1814">
                  <c:v>38370</c:v>
                </c:pt>
                <c:pt idx="1815">
                  <c:v>38371</c:v>
                </c:pt>
                <c:pt idx="1816">
                  <c:v>38372</c:v>
                </c:pt>
                <c:pt idx="1817">
                  <c:v>38373</c:v>
                </c:pt>
                <c:pt idx="1818">
                  <c:v>38376</c:v>
                </c:pt>
                <c:pt idx="1819">
                  <c:v>38377</c:v>
                </c:pt>
                <c:pt idx="1820">
                  <c:v>38378</c:v>
                </c:pt>
                <c:pt idx="1821">
                  <c:v>38379</c:v>
                </c:pt>
                <c:pt idx="1822">
                  <c:v>38380</c:v>
                </c:pt>
                <c:pt idx="1823">
                  <c:v>38383</c:v>
                </c:pt>
                <c:pt idx="1824">
                  <c:v>38384</c:v>
                </c:pt>
                <c:pt idx="1825">
                  <c:v>38385</c:v>
                </c:pt>
                <c:pt idx="1826">
                  <c:v>38386</c:v>
                </c:pt>
                <c:pt idx="1827">
                  <c:v>38387</c:v>
                </c:pt>
                <c:pt idx="1828">
                  <c:v>38390</c:v>
                </c:pt>
                <c:pt idx="1829">
                  <c:v>38391</c:v>
                </c:pt>
                <c:pt idx="1830">
                  <c:v>38392</c:v>
                </c:pt>
                <c:pt idx="1831">
                  <c:v>38393</c:v>
                </c:pt>
                <c:pt idx="1832">
                  <c:v>38394</c:v>
                </c:pt>
                <c:pt idx="1833">
                  <c:v>38397</c:v>
                </c:pt>
                <c:pt idx="1834">
                  <c:v>38398</c:v>
                </c:pt>
                <c:pt idx="1835">
                  <c:v>38399</c:v>
                </c:pt>
                <c:pt idx="1836">
                  <c:v>38400</c:v>
                </c:pt>
                <c:pt idx="1837">
                  <c:v>38401</c:v>
                </c:pt>
                <c:pt idx="1838">
                  <c:v>38404</c:v>
                </c:pt>
                <c:pt idx="1839">
                  <c:v>38405</c:v>
                </c:pt>
                <c:pt idx="1840">
                  <c:v>38406</c:v>
                </c:pt>
                <c:pt idx="1841">
                  <c:v>38407</c:v>
                </c:pt>
                <c:pt idx="1842">
                  <c:v>38408</c:v>
                </c:pt>
                <c:pt idx="1843">
                  <c:v>38411</c:v>
                </c:pt>
                <c:pt idx="1844">
                  <c:v>38412</c:v>
                </c:pt>
                <c:pt idx="1845">
                  <c:v>38413</c:v>
                </c:pt>
                <c:pt idx="1846">
                  <c:v>38414</c:v>
                </c:pt>
                <c:pt idx="1847">
                  <c:v>38415</c:v>
                </c:pt>
                <c:pt idx="1848">
                  <c:v>38418</c:v>
                </c:pt>
                <c:pt idx="1849">
                  <c:v>38419</c:v>
                </c:pt>
                <c:pt idx="1850">
                  <c:v>38420</c:v>
                </c:pt>
                <c:pt idx="1851">
                  <c:v>38421</c:v>
                </c:pt>
                <c:pt idx="1852">
                  <c:v>38422</c:v>
                </c:pt>
                <c:pt idx="1853">
                  <c:v>38425</c:v>
                </c:pt>
                <c:pt idx="1854">
                  <c:v>38426</c:v>
                </c:pt>
                <c:pt idx="1855">
                  <c:v>38427</c:v>
                </c:pt>
                <c:pt idx="1856">
                  <c:v>38428</c:v>
                </c:pt>
                <c:pt idx="1857">
                  <c:v>38429</c:v>
                </c:pt>
                <c:pt idx="1858">
                  <c:v>38432</c:v>
                </c:pt>
                <c:pt idx="1859">
                  <c:v>38433</c:v>
                </c:pt>
                <c:pt idx="1860">
                  <c:v>38434</c:v>
                </c:pt>
                <c:pt idx="1861">
                  <c:v>38435</c:v>
                </c:pt>
                <c:pt idx="1862">
                  <c:v>38439</c:v>
                </c:pt>
                <c:pt idx="1863">
                  <c:v>38440</c:v>
                </c:pt>
                <c:pt idx="1864">
                  <c:v>38441</c:v>
                </c:pt>
                <c:pt idx="1865">
                  <c:v>38442</c:v>
                </c:pt>
                <c:pt idx="1866">
                  <c:v>38443</c:v>
                </c:pt>
                <c:pt idx="1867">
                  <c:v>38446</c:v>
                </c:pt>
                <c:pt idx="1868">
                  <c:v>38447</c:v>
                </c:pt>
                <c:pt idx="1869">
                  <c:v>38448</c:v>
                </c:pt>
                <c:pt idx="1870">
                  <c:v>38449</c:v>
                </c:pt>
                <c:pt idx="1871">
                  <c:v>38450</c:v>
                </c:pt>
                <c:pt idx="1872">
                  <c:v>38453</c:v>
                </c:pt>
                <c:pt idx="1873">
                  <c:v>38454</c:v>
                </c:pt>
                <c:pt idx="1874">
                  <c:v>38455</c:v>
                </c:pt>
                <c:pt idx="1875">
                  <c:v>38456</c:v>
                </c:pt>
                <c:pt idx="1876">
                  <c:v>38457</c:v>
                </c:pt>
                <c:pt idx="1877">
                  <c:v>38460</c:v>
                </c:pt>
                <c:pt idx="1878">
                  <c:v>38461</c:v>
                </c:pt>
                <c:pt idx="1879">
                  <c:v>38462</c:v>
                </c:pt>
                <c:pt idx="1880">
                  <c:v>38463</c:v>
                </c:pt>
                <c:pt idx="1881">
                  <c:v>38464</c:v>
                </c:pt>
                <c:pt idx="1882">
                  <c:v>38467</c:v>
                </c:pt>
                <c:pt idx="1883">
                  <c:v>38468</c:v>
                </c:pt>
                <c:pt idx="1884">
                  <c:v>38469</c:v>
                </c:pt>
                <c:pt idx="1885">
                  <c:v>38470</c:v>
                </c:pt>
                <c:pt idx="1886">
                  <c:v>38471</c:v>
                </c:pt>
                <c:pt idx="1887">
                  <c:v>38474</c:v>
                </c:pt>
                <c:pt idx="1888">
                  <c:v>38475</c:v>
                </c:pt>
                <c:pt idx="1889">
                  <c:v>38476</c:v>
                </c:pt>
                <c:pt idx="1890">
                  <c:v>38477</c:v>
                </c:pt>
                <c:pt idx="1891">
                  <c:v>38478</c:v>
                </c:pt>
                <c:pt idx="1892">
                  <c:v>38481</c:v>
                </c:pt>
                <c:pt idx="1893">
                  <c:v>38482</c:v>
                </c:pt>
                <c:pt idx="1894">
                  <c:v>38483</c:v>
                </c:pt>
                <c:pt idx="1895">
                  <c:v>38484</c:v>
                </c:pt>
                <c:pt idx="1896">
                  <c:v>38485</c:v>
                </c:pt>
                <c:pt idx="1897">
                  <c:v>38488</c:v>
                </c:pt>
                <c:pt idx="1898">
                  <c:v>38489</c:v>
                </c:pt>
                <c:pt idx="1899">
                  <c:v>38490</c:v>
                </c:pt>
                <c:pt idx="1900">
                  <c:v>38491</c:v>
                </c:pt>
                <c:pt idx="1901">
                  <c:v>38492</c:v>
                </c:pt>
                <c:pt idx="1902">
                  <c:v>38495</c:v>
                </c:pt>
                <c:pt idx="1903">
                  <c:v>38496</c:v>
                </c:pt>
                <c:pt idx="1904">
                  <c:v>38497</c:v>
                </c:pt>
                <c:pt idx="1905">
                  <c:v>38498</c:v>
                </c:pt>
                <c:pt idx="1906">
                  <c:v>38499</c:v>
                </c:pt>
                <c:pt idx="1907">
                  <c:v>38502</c:v>
                </c:pt>
                <c:pt idx="1908">
                  <c:v>38503</c:v>
                </c:pt>
                <c:pt idx="1909">
                  <c:v>38504</c:v>
                </c:pt>
                <c:pt idx="1910">
                  <c:v>38505</c:v>
                </c:pt>
                <c:pt idx="1911">
                  <c:v>38506</c:v>
                </c:pt>
                <c:pt idx="1912">
                  <c:v>38509</c:v>
                </c:pt>
                <c:pt idx="1913">
                  <c:v>38510</c:v>
                </c:pt>
                <c:pt idx="1914">
                  <c:v>38511</c:v>
                </c:pt>
                <c:pt idx="1915">
                  <c:v>38512</c:v>
                </c:pt>
                <c:pt idx="1916">
                  <c:v>38513</c:v>
                </c:pt>
                <c:pt idx="1917">
                  <c:v>38516</c:v>
                </c:pt>
                <c:pt idx="1918">
                  <c:v>38517</c:v>
                </c:pt>
                <c:pt idx="1919">
                  <c:v>38518</c:v>
                </c:pt>
                <c:pt idx="1920">
                  <c:v>38519</c:v>
                </c:pt>
                <c:pt idx="1921">
                  <c:v>38520</c:v>
                </c:pt>
                <c:pt idx="1922">
                  <c:v>38523</c:v>
                </c:pt>
                <c:pt idx="1923">
                  <c:v>38524</c:v>
                </c:pt>
                <c:pt idx="1924">
                  <c:v>38525</c:v>
                </c:pt>
                <c:pt idx="1925">
                  <c:v>38526</c:v>
                </c:pt>
                <c:pt idx="1926">
                  <c:v>38527</c:v>
                </c:pt>
                <c:pt idx="1927">
                  <c:v>38530</c:v>
                </c:pt>
                <c:pt idx="1928">
                  <c:v>38531</c:v>
                </c:pt>
                <c:pt idx="1929">
                  <c:v>38532</c:v>
                </c:pt>
                <c:pt idx="1930">
                  <c:v>38533</c:v>
                </c:pt>
                <c:pt idx="1931">
                  <c:v>38534</c:v>
                </c:pt>
                <c:pt idx="1932">
                  <c:v>38537</c:v>
                </c:pt>
                <c:pt idx="1933">
                  <c:v>38538</c:v>
                </c:pt>
                <c:pt idx="1934">
                  <c:v>38539</c:v>
                </c:pt>
                <c:pt idx="1935">
                  <c:v>38540</c:v>
                </c:pt>
                <c:pt idx="1936">
                  <c:v>38541</c:v>
                </c:pt>
                <c:pt idx="1937">
                  <c:v>38544</c:v>
                </c:pt>
                <c:pt idx="1938">
                  <c:v>38545</c:v>
                </c:pt>
                <c:pt idx="1939">
                  <c:v>38546</c:v>
                </c:pt>
                <c:pt idx="1940">
                  <c:v>38547</c:v>
                </c:pt>
                <c:pt idx="1941">
                  <c:v>38548</c:v>
                </c:pt>
                <c:pt idx="1942">
                  <c:v>38551</c:v>
                </c:pt>
                <c:pt idx="1943">
                  <c:v>38552</c:v>
                </c:pt>
                <c:pt idx="1944">
                  <c:v>38553</c:v>
                </c:pt>
                <c:pt idx="1945">
                  <c:v>38554</c:v>
                </c:pt>
                <c:pt idx="1946">
                  <c:v>38555</c:v>
                </c:pt>
                <c:pt idx="1947">
                  <c:v>38558</c:v>
                </c:pt>
                <c:pt idx="1948">
                  <c:v>38559</c:v>
                </c:pt>
                <c:pt idx="1949">
                  <c:v>38560</c:v>
                </c:pt>
                <c:pt idx="1950">
                  <c:v>38561</c:v>
                </c:pt>
                <c:pt idx="1951">
                  <c:v>38562</c:v>
                </c:pt>
                <c:pt idx="1952">
                  <c:v>38565</c:v>
                </c:pt>
                <c:pt idx="1953">
                  <c:v>38566</c:v>
                </c:pt>
                <c:pt idx="1954">
                  <c:v>38567</c:v>
                </c:pt>
                <c:pt idx="1955">
                  <c:v>38568</c:v>
                </c:pt>
                <c:pt idx="1956">
                  <c:v>38569</c:v>
                </c:pt>
                <c:pt idx="1957">
                  <c:v>38572</c:v>
                </c:pt>
                <c:pt idx="1958">
                  <c:v>38573</c:v>
                </c:pt>
                <c:pt idx="1959">
                  <c:v>38574</c:v>
                </c:pt>
                <c:pt idx="1960">
                  <c:v>38575</c:v>
                </c:pt>
                <c:pt idx="1961">
                  <c:v>38576</c:v>
                </c:pt>
                <c:pt idx="1962">
                  <c:v>38579</c:v>
                </c:pt>
                <c:pt idx="1963">
                  <c:v>38580</c:v>
                </c:pt>
                <c:pt idx="1964">
                  <c:v>38581</c:v>
                </c:pt>
                <c:pt idx="1965">
                  <c:v>38582</c:v>
                </c:pt>
                <c:pt idx="1966">
                  <c:v>38583</c:v>
                </c:pt>
                <c:pt idx="1967">
                  <c:v>38586</c:v>
                </c:pt>
                <c:pt idx="1968">
                  <c:v>38587</c:v>
                </c:pt>
                <c:pt idx="1969">
                  <c:v>38588</c:v>
                </c:pt>
                <c:pt idx="1970">
                  <c:v>38589</c:v>
                </c:pt>
                <c:pt idx="1971">
                  <c:v>38590</c:v>
                </c:pt>
                <c:pt idx="1972">
                  <c:v>38593</c:v>
                </c:pt>
                <c:pt idx="1973">
                  <c:v>38594</c:v>
                </c:pt>
                <c:pt idx="1974">
                  <c:v>38595</c:v>
                </c:pt>
                <c:pt idx="1975">
                  <c:v>38596</c:v>
                </c:pt>
                <c:pt idx="1976">
                  <c:v>38597</c:v>
                </c:pt>
                <c:pt idx="1977">
                  <c:v>38600</c:v>
                </c:pt>
                <c:pt idx="1978">
                  <c:v>38601</c:v>
                </c:pt>
                <c:pt idx="1979">
                  <c:v>38602</c:v>
                </c:pt>
                <c:pt idx="1980">
                  <c:v>38603</c:v>
                </c:pt>
                <c:pt idx="1981">
                  <c:v>38604</c:v>
                </c:pt>
                <c:pt idx="1982">
                  <c:v>38607</c:v>
                </c:pt>
                <c:pt idx="1983">
                  <c:v>38608</c:v>
                </c:pt>
                <c:pt idx="1984">
                  <c:v>38609</c:v>
                </c:pt>
                <c:pt idx="1985">
                  <c:v>38610</c:v>
                </c:pt>
                <c:pt idx="1986">
                  <c:v>38611</c:v>
                </c:pt>
                <c:pt idx="1987">
                  <c:v>38614</c:v>
                </c:pt>
                <c:pt idx="1988">
                  <c:v>38615</c:v>
                </c:pt>
                <c:pt idx="1989">
                  <c:v>38616</c:v>
                </c:pt>
                <c:pt idx="1990">
                  <c:v>38617</c:v>
                </c:pt>
                <c:pt idx="1991">
                  <c:v>38618</c:v>
                </c:pt>
                <c:pt idx="1992">
                  <c:v>38621</c:v>
                </c:pt>
                <c:pt idx="1993">
                  <c:v>38622</c:v>
                </c:pt>
                <c:pt idx="1994">
                  <c:v>38623</c:v>
                </c:pt>
                <c:pt idx="1995">
                  <c:v>38624</c:v>
                </c:pt>
                <c:pt idx="1996">
                  <c:v>38625</c:v>
                </c:pt>
                <c:pt idx="1997">
                  <c:v>38628</c:v>
                </c:pt>
                <c:pt idx="1998">
                  <c:v>38629</c:v>
                </c:pt>
                <c:pt idx="1999">
                  <c:v>38630</c:v>
                </c:pt>
                <c:pt idx="2000">
                  <c:v>38631</c:v>
                </c:pt>
                <c:pt idx="2001">
                  <c:v>38632</c:v>
                </c:pt>
                <c:pt idx="2002">
                  <c:v>38635</c:v>
                </c:pt>
                <c:pt idx="2003">
                  <c:v>38636</c:v>
                </c:pt>
                <c:pt idx="2004">
                  <c:v>38637</c:v>
                </c:pt>
                <c:pt idx="2005">
                  <c:v>38638</c:v>
                </c:pt>
                <c:pt idx="2006">
                  <c:v>38639</c:v>
                </c:pt>
                <c:pt idx="2007">
                  <c:v>38642</c:v>
                </c:pt>
                <c:pt idx="2008">
                  <c:v>38643</c:v>
                </c:pt>
                <c:pt idx="2009">
                  <c:v>38644</c:v>
                </c:pt>
                <c:pt idx="2010">
                  <c:v>38645</c:v>
                </c:pt>
                <c:pt idx="2011">
                  <c:v>38646</c:v>
                </c:pt>
                <c:pt idx="2012">
                  <c:v>38649</c:v>
                </c:pt>
                <c:pt idx="2013">
                  <c:v>38650</c:v>
                </c:pt>
                <c:pt idx="2014">
                  <c:v>38651</c:v>
                </c:pt>
                <c:pt idx="2015">
                  <c:v>38652</c:v>
                </c:pt>
                <c:pt idx="2016">
                  <c:v>38653</c:v>
                </c:pt>
                <c:pt idx="2017">
                  <c:v>38656</c:v>
                </c:pt>
                <c:pt idx="2018">
                  <c:v>38657</c:v>
                </c:pt>
                <c:pt idx="2019">
                  <c:v>38658</c:v>
                </c:pt>
                <c:pt idx="2020">
                  <c:v>38659</c:v>
                </c:pt>
                <c:pt idx="2021">
                  <c:v>38660</c:v>
                </c:pt>
                <c:pt idx="2022">
                  <c:v>38663</c:v>
                </c:pt>
                <c:pt idx="2023">
                  <c:v>38664</c:v>
                </c:pt>
                <c:pt idx="2024">
                  <c:v>38665</c:v>
                </c:pt>
                <c:pt idx="2025">
                  <c:v>38666</c:v>
                </c:pt>
                <c:pt idx="2026">
                  <c:v>38667</c:v>
                </c:pt>
                <c:pt idx="2027">
                  <c:v>38670</c:v>
                </c:pt>
                <c:pt idx="2028">
                  <c:v>38671</c:v>
                </c:pt>
                <c:pt idx="2029">
                  <c:v>38672</c:v>
                </c:pt>
                <c:pt idx="2030">
                  <c:v>38673</c:v>
                </c:pt>
                <c:pt idx="2031">
                  <c:v>38674</c:v>
                </c:pt>
                <c:pt idx="2032">
                  <c:v>38677</c:v>
                </c:pt>
                <c:pt idx="2033">
                  <c:v>38678</c:v>
                </c:pt>
                <c:pt idx="2034">
                  <c:v>38679</c:v>
                </c:pt>
                <c:pt idx="2035">
                  <c:v>38680</c:v>
                </c:pt>
                <c:pt idx="2036">
                  <c:v>38681</c:v>
                </c:pt>
                <c:pt idx="2037">
                  <c:v>38684</c:v>
                </c:pt>
                <c:pt idx="2038">
                  <c:v>38685</c:v>
                </c:pt>
                <c:pt idx="2039">
                  <c:v>38686</c:v>
                </c:pt>
                <c:pt idx="2040">
                  <c:v>38687</c:v>
                </c:pt>
                <c:pt idx="2041">
                  <c:v>38688</c:v>
                </c:pt>
                <c:pt idx="2042">
                  <c:v>38691</c:v>
                </c:pt>
                <c:pt idx="2043">
                  <c:v>38692</c:v>
                </c:pt>
                <c:pt idx="2044">
                  <c:v>38693</c:v>
                </c:pt>
                <c:pt idx="2045">
                  <c:v>38694</c:v>
                </c:pt>
                <c:pt idx="2046">
                  <c:v>38695</c:v>
                </c:pt>
                <c:pt idx="2047">
                  <c:v>38698</c:v>
                </c:pt>
                <c:pt idx="2048">
                  <c:v>38699</c:v>
                </c:pt>
                <c:pt idx="2049">
                  <c:v>38700</c:v>
                </c:pt>
                <c:pt idx="2050">
                  <c:v>38701</c:v>
                </c:pt>
                <c:pt idx="2051">
                  <c:v>38702</c:v>
                </c:pt>
                <c:pt idx="2052">
                  <c:v>38705</c:v>
                </c:pt>
                <c:pt idx="2053">
                  <c:v>38706</c:v>
                </c:pt>
                <c:pt idx="2054">
                  <c:v>38707</c:v>
                </c:pt>
                <c:pt idx="2055">
                  <c:v>38708</c:v>
                </c:pt>
                <c:pt idx="2056">
                  <c:v>38709</c:v>
                </c:pt>
                <c:pt idx="2057">
                  <c:v>38712</c:v>
                </c:pt>
                <c:pt idx="2058">
                  <c:v>38713</c:v>
                </c:pt>
                <c:pt idx="2059">
                  <c:v>38714</c:v>
                </c:pt>
                <c:pt idx="2060">
                  <c:v>38715</c:v>
                </c:pt>
                <c:pt idx="2061">
                  <c:v>38716</c:v>
                </c:pt>
                <c:pt idx="2062">
                  <c:v>38720</c:v>
                </c:pt>
                <c:pt idx="2063">
                  <c:v>38721</c:v>
                </c:pt>
                <c:pt idx="2064">
                  <c:v>38722</c:v>
                </c:pt>
                <c:pt idx="2065">
                  <c:v>38723</c:v>
                </c:pt>
                <c:pt idx="2066">
                  <c:v>38726</c:v>
                </c:pt>
                <c:pt idx="2067">
                  <c:v>38727</c:v>
                </c:pt>
                <c:pt idx="2068">
                  <c:v>38728</c:v>
                </c:pt>
                <c:pt idx="2069">
                  <c:v>38729</c:v>
                </c:pt>
                <c:pt idx="2070">
                  <c:v>38730</c:v>
                </c:pt>
                <c:pt idx="2071">
                  <c:v>38733</c:v>
                </c:pt>
                <c:pt idx="2072">
                  <c:v>38734</c:v>
                </c:pt>
                <c:pt idx="2073">
                  <c:v>38735</c:v>
                </c:pt>
                <c:pt idx="2074">
                  <c:v>38736</c:v>
                </c:pt>
                <c:pt idx="2075">
                  <c:v>38737</c:v>
                </c:pt>
                <c:pt idx="2076">
                  <c:v>38740</c:v>
                </c:pt>
                <c:pt idx="2077">
                  <c:v>38741</c:v>
                </c:pt>
                <c:pt idx="2078">
                  <c:v>38742</c:v>
                </c:pt>
                <c:pt idx="2079">
                  <c:v>38743</c:v>
                </c:pt>
                <c:pt idx="2080">
                  <c:v>38744</c:v>
                </c:pt>
                <c:pt idx="2081">
                  <c:v>38747</c:v>
                </c:pt>
                <c:pt idx="2082">
                  <c:v>38748</c:v>
                </c:pt>
                <c:pt idx="2083">
                  <c:v>38749</c:v>
                </c:pt>
                <c:pt idx="2084">
                  <c:v>38750</c:v>
                </c:pt>
                <c:pt idx="2085">
                  <c:v>38751</c:v>
                </c:pt>
                <c:pt idx="2086">
                  <c:v>38754</c:v>
                </c:pt>
                <c:pt idx="2087">
                  <c:v>38755</c:v>
                </c:pt>
                <c:pt idx="2088">
                  <c:v>38756</c:v>
                </c:pt>
                <c:pt idx="2089">
                  <c:v>38757</c:v>
                </c:pt>
                <c:pt idx="2090">
                  <c:v>38758</c:v>
                </c:pt>
                <c:pt idx="2091">
                  <c:v>38761</c:v>
                </c:pt>
                <c:pt idx="2092">
                  <c:v>38762</c:v>
                </c:pt>
                <c:pt idx="2093">
                  <c:v>38763</c:v>
                </c:pt>
                <c:pt idx="2094">
                  <c:v>38764</c:v>
                </c:pt>
                <c:pt idx="2095">
                  <c:v>38765</c:v>
                </c:pt>
                <c:pt idx="2096">
                  <c:v>38768</c:v>
                </c:pt>
                <c:pt idx="2097">
                  <c:v>38769</c:v>
                </c:pt>
                <c:pt idx="2098">
                  <c:v>38770</c:v>
                </c:pt>
                <c:pt idx="2099">
                  <c:v>38771</c:v>
                </c:pt>
                <c:pt idx="2100">
                  <c:v>38772</c:v>
                </c:pt>
                <c:pt idx="2101">
                  <c:v>38775</c:v>
                </c:pt>
                <c:pt idx="2102">
                  <c:v>38776</c:v>
                </c:pt>
                <c:pt idx="2103">
                  <c:v>38777</c:v>
                </c:pt>
                <c:pt idx="2104">
                  <c:v>38778</c:v>
                </c:pt>
                <c:pt idx="2105">
                  <c:v>38779</c:v>
                </c:pt>
                <c:pt idx="2106">
                  <c:v>38782</c:v>
                </c:pt>
                <c:pt idx="2107">
                  <c:v>38783</c:v>
                </c:pt>
                <c:pt idx="2108">
                  <c:v>38784</c:v>
                </c:pt>
                <c:pt idx="2109">
                  <c:v>38785</c:v>
                </c:pt>
                <c:pt idx="2110">
                  <c:v>38786</c:v>
                </c:pt>
                <c:pt idx="2111">
                  <c:v>38789</c:v>
                </c:pt>
                <c:pt idx="2112">
                  <c:v>38790</c:v>
                </c:pt>
                <c:pt idx="2113">
                  <c:v>38791</c:v>
                </c:pt>
                <c:pt idx="2114">
                  <c:v>38792</c:v>
                </c:pt>
                <c:pt idx="2115">
                  <c:v>38793</c:v>
                </c:pt>
                <c:pt idx="2116">
                  <c:v>38796</c:v>
                </c:pt>
                <c:pt idx="2117">
                  <c:v>38797</c:v>
                </c:pt>
                <c:pt idx="2118">
                  <c:v>38798</c:v>
                </c:pt>
                <c:pt idx="2119">
                  <c:v>38799</c:v>
                </c:pt>
                <c:pt idx="2120">
                  <c:v>38800</c:v>
                </c:pt>
                <c:pt idx="2121">
                  <c:v>38803</c:v>
                </c:pt>
                <c:pt idx="2122">
                  <c:v>38804</c:v>
                </c:pt>
                <c:pt idx="2123">
                  <c:v>38805</c:v>
                </c:pt>
                <c:pt idx="2124">
                  <c:v>38806</c:v>
                </c:pt>
                <c:pt idx="2125">
                  <c:v>38807</c:v>
                </c:pt>
                <c:pt idx="2126">
                  <c:v>38810</c:v>
                </c:pt>
                <c:pt idx="2127">
                  <c:v>38811</c:v>
                </c:pt>
                <c:pt idx="2128">
                  <c:v>38812</c:v>
                </c:pt>
                <c:pt idx="2129">
                  <c:v>38813</c:v>
                </c:pt>
                <c:pt idx="2130">
                  <c:v>38814</c:v>
                </c:pt>
                <c:pt idx="2131">
                  <c:v>38817</c:v>
                </c:pt>
                <c:pt idx="2132">
                  <c:v>38818</c:v>
                </c:pt>
                <c:pt idx="2133">
                  <c:v>38819</c:v>
                </c:pt>
                <c:pt idx="2134">
                  <c:v>38820</c:v>
                </c:pt>
                <c:pt idx="2135">
                  <c:v>38824</c:v>
                </c:pt>
                <c:pt idx="2136">
                  <c:v>38825</c:v>
                </c:pt>
                <c:pt idx="2137">
                  <c:v>38826</c:v>
                </c:pt>
                <c:pt idx="2138">
                  <c:v>38827</c:v>
                </c:pt>
                <c:pt idx="2139">
                  <c:v>38828</c:v>
                </c:pt>
                <c:pt idx="2140">
                  <c:v>38831</c:v>
                </c:pt>
                <c:pt idx="2141">
                  <c:v>38832</c:v>
                </c:pt>
                <c:pt idx="2142">
                  <c:v>38833</c:v>
                </c:pt>
                <c:pt idx="2143">
                  <c:v>38834</c:v>
                </c:pt>
                <c:pt idx="2144">
                  <c:v>38835</c:v>
                </c:pt>
                <c:pt idx="2145">
                  <c:v>38838</c:v>
                </c:pt>
                <c:pt idx="2146">
                  <c:v>38839</c:v>
                </c:pt>
                <c:pt idx="2147">
                  <c:v>38840</c:v>
                </c:pt>
                <c:pt idx="2148">
                  <c:v>38841</c:v>
                </c:pt>
                <c:pt idx="2149">
                  <c:v>38842</c:v>
                </c:pt>
                <c:pt idx="2150">
                  <c:v>38845</c:v>
                </c:pt>
                <c:pt idx="2151">
                  <c:v>38846</c:v>
                </c:pt>
                <c:pt idx="2152">
                  <c:v>38847</c:v>
                </c:pt>
                <c:pt idx="2153">
                  <c:v>38848</c:v>
                </c:pt>
                <c:pt idx="2154">
                  <c:v>38849</c:v>
                </c:pt>
                <c:pt idx="2155">
                  <c:v>38852</c:v>
                </c:pt>
                <c:pt idx="2156">
                  <c:v>38853</c:v>
                </c:pt>
                <c:pt idx="2157">
                  <c:v>38854</c:v>
                </c:pt>
                <c:pt idx="2158">
                  <c:v>38855</c:v>
                </c:pt>
                <c:pt idx="2159">
                  <c:v>38856</c:v>
                </c:pt>
                <c:pt idx="2160">
                  <c:v>38859</c:v>
                </c:pt>
                <c:pt idx="2161">
                  <c:v>38860</c:v>
                </c:pt>
                <c:pt idx="2162">
                  <c:v>38861</c:v>
                </c:pt>
                <c:pt idx="2163">
                  <c:v>38862</c:v>
                </c:pt>
                <c:pt idx="2164">
                  <c:v>38863</c:v>
                </c:pt>
                <c:pt idx="2165">
                  <c:v>38866</c:v>
                </c:pt>
                <c:pt idx="2166">
                  <c:v>38867</c:v>
                </c:pt>
                <c:pt idx="2167">
                  <c:v>38868</c:v>
                </c:pt>
                <c:pt idx="2168">
                  <c:v>38869</c:v>
                </c:pt>
                <c:pt idx="2169">
                  <c:v>38870</c:v>
                </c:pt>
                <c:pt idx="2170">
                  <c:v>38873</c:v>
                </c:pt>
                <c:pt idx="2171">
                  <c:v>38874</c:v>
                </c:pt>
                <c:pt idx="2172">
                  <c:v>38875</c:v>
                </c:pt>
                <c:pt idx="2173">
                  <c:v>38876</c:v>
                </c:pt>
                <c:pt idx="2174">
                  <c:v>38877</c:v>
                </c:pt>
                <c:pt idx="2175">
                  <c:v>38880</c:v>
                </c:pt>
                <c:pt idx="2176">
                  <c:v>38881</c:v>
                </c:pt>
                <c:pt idx="2177">
                  <c:v>38882</c:v>
                </c:pt>
                <c:pt idx="2178">
                  <c:v>38883</c:v>
                </c:pt>
                <c:pt idx="2179">
                  <c:v>38884</c:v>
                </c:pt>
                <c:pt idx="2180">
                  <c:v>38887</c:v>
                </c:pt>
                <c:pt idx="2181">
                  <c:v>38888</c:v>
                </c:pt>
                <c:pt idx="2182">
                  <c:v>38889</c:v>
                </c:pt>
                <c:pt idx="2183">
                  <c:v>38890</c:v>
                </c:pt>
                <c:pt idx="2184">
                  <c:v>38891</c:v>
                </c:pt>
                <c:pt idx="2185">
                  <c:v>38894</c:v>
                </c:pt>
                <c:pt idx="2186">
                  <c:v>38895</c:v>
                </c:pt>
                <c:pt idx="2187">
                  <c:v>38896</c:v>
                </c:pt>
                <c:pt idx="2188">
                  <c:v>38897</c:v>
                </c:pt>
                <c:pt idx="2189">
                  <c:v>38898</c:v>
                </c:pt>
                <c:pt idx="2190">
                  <c:v>38901</c:v>
                </c:pt>
                <c:pt idx="2191">
                  <c:v>38902</c:v>
                </c:pt>
                <c:pt idx="2192">
                  <c:v>38903</c:v>
                </c:pt>
                <c:pt idx="2193">
                  <c:v>38904</c:v>
                </c:pt>
                <c:pt idx="2194">
                  <c:v>38905</c:v>
                </c:pt>
                <c:pt idx="2195">
                  <c:v>38908</c:v>
                </c:pt>
                <c:pt idx="2196">
                  <c:v>38909</c:v>
                </c:pt>
                <c:pt idx="2197">
                  <c:v>38910</c:v>
                </c:pt>
                <c:pt idx="2198">
                  <c:v>38911</c:v>
                </c:pt>
                <c:pt idx="2199">
                  <c:v>38912</c:v>
                </c:pt>
                <c:pt idx="2200">
                  <c:v>38915</c:v>
                </c:pt>
                <c:pt idx="2201">
                  <c:v>38916</c:v>
                </c:pt>
                <c:pt idx="2202">
                  <c:v>38917</c:v>
                </c:pt>
                <c:pt idx="2203">
                  <c:v>38918</c:v>
                </c:pt>
                <c:pt idx="2204">
                  <c:v>38919</c:v>
                </c:pt>
                <c:pt idx="2205">
                  <c:v>38922</c:v>
                </c:pt>
                <c:pt idx="2206">
                  <c:v>38923</c:v>
                </c:pt>
                <c:pt idx="2207">
                  <c:v>38924</c:v>
                </c:pt>
                <c:pt idx="2208">
                  <c:v>38925</c:v>
                </c:pt>
                <c:pt idx="2209">
                  <c:v>38926</c:v>
                </c:pt>
                <c:pt idx="2210">
                  <c:v>38929</c:v>
                </c:pt>
                <c:pt idx="2211">
                  <c:v>38930</c:v>
                </c:pt>
                <c:pt idx="2212">
                  <c:v>38931</c:v>
                </c:pt>
                <c:pt idx="2213">
                  <c:v>38932</c:v>
                </c:pt>
                <c:pt idx="2214">
                  <c:v>38933</c:v>
                </c:pt>
                <c:pt idx="2215">
                  <c:v>38936</c:v>
                </c:pt>
                <c:pt idx="2216">
                  <c:v>38937</c:v>
                </c:pt>
                <c:pt idx="2217">
                  <c:v>38938</c:v>
                </c:pt>
                <c:pt idx="2218">
                  <c:v>38939</c:v>
                </c:pt>
                <c:pt idx="2219">
                  <c:v>38940</c:v>
                </c:pt>
                <c:pt idx="2220">
                  <c:v>38943</c:v>
                </c:pt>
                <c:pt idx="2221">
                  <c:v>38944</c:v>
                </c:pt>
                <c:pt idx="2222">
                  <c:v>38945</c:v>
                </c:pt>
                <c:pt idx="2223">
                  <c:v>38946</c:v>
                </c:pt>
                <c:pt idx="2224">
                  <c:v>38947</c:v>
                </c:pt>
                <c:pt idx="2225">
                  <c:v>38950</c:v>
                </c:pt>
                <c:pt idx="2226">
                  <c:v>38951</c:v>
                </c:pt>
                <c:pt idx="2227">
                  <c:v>38952</c:v>
                </c:pt>
                <c:pt idx="2228">
                  <c:v>38953</c:v>
                </c:pt>
                <c:pt idx="2229">
                  <c:v>38954</c:v>
                </c:pt>
                <c:pt idx="2230">
                  <c:v>38957</c:v>
                </c:pt>
                <c:pt idx="2231">
                  <c:v>38958</c:v>
                </c:pt>
                <c:pt idx="2232">
                  <c:v>38959</c:v>
                </c:pt>
                <c:pt idx="2233">
                  <c:v>38960</c:v>
                </c:pt>
                <c:pt idx="2234">
                  <c:v>38961</c:v>
                </c:pt>
                <c:pt idx="2235">
                  <c:v>38964</c:v>
                </c:pt>
                <c:pt idx="2236">
                  <c:v>38965</c:v>
                </c:pt>
                <c:pt idx="2237">
                  <c:v>38966</c:v>
                </c:pt>
                <c:pt idx="2238">
                  <c:v>38967</c:v>
                </c:pt>
                <c:pt idx="2239">
                  <c:v>38968</c:v>
                </c:pt>
                <c:pt idx="2240">
                  <c:v>38971</c:v>
                </c:pt>
                <c:pt idx="2241">
                  <c:v>38972</c:v>
                </c:pt>
                <c:pt idx="2242">
                  <c:v>38973</c:v>
                </c:pt>
                <c:pt idx="2243">
                  <c:v>38974</c:v>
                </c:pt>
                <c:pt idx="2244">
                  <c:v>38975</c:v>
                </c:pt>
                <c:pt idx="2245">
                  <c:v>38978</c:v>
                </c:pt>
                <c:pt idx="2246">
                  <c:v>38979</c:v>
                </c:pt>
                <c:pt idx="2247">
                  <c:v>38980</c:v>
                </c:pt>
                <c:pt idx="2248">
                  <c:v>38981</c:v>
                </c:pt>
                <c:pt idx="2249">
                  <c:v>38982</c:v>
                </c:pt>
                <c:pt idx="2250">
                  <c:v>38985</c:v>
                </c:pt>
                <c:pt idx="2251">
                  <c:v>38986</c:v>
                </c:pt>
                <c:pt idx="2252">
                  <c:v>38987</c:v>
                </c:pt>
                <c:pt idx="2253">
                  <c:v>38988</c:v>
                </c:pt>
                <c:pt idx="2254">
                  <c:v>38989</c:v>
                </c:pt>
                <c:pt idx="2255">
                  <c:v>38992</c:v>
                </c:pt>
                <c:pt idx="2256">
                  <c:v>38993</c:v>
                </c:pt>
                <c:pt idx="2257">
                  <c:v>38994</c:v>
                </c:pt>
                <c:pt idx="2258">
                  <c:v>38995</c:v>
                </c:pt>
                <c:pt idx="2259">
                  <c:v>38996</c:v>
                </c:pt>
                <c:pt idx="2260">
                  <c:v>38999</c:v>
                </c:pt>
                <c:pt idx="2261">
                  <c:v>39000</c:v>
                </c:pt>
                <c:pt idx="2262">
                  <c:v>39001</c:v>
                </c:pt>
                <c:pt idx="2263">
                  <c:v>39002</c:v>
                </c:pt>
                <c:pt idx="2264">
                  <c:v>39003</c:v>
                </c:pt>
                <c:pt idx="2265">
                  <c:v>39006</c:v>
                </c:pt>
                <c:pt idx="2266">
                  <c:v>39007</c:v>
                </c:pt>
                <c:pt idx="2267">
                  <c:v>39008</c:v>
                </c:pt>
                <c:pt idx="2268">
                  <c:v>39009</c:v>
                </c:pt>
                <c:pt idx="2269">
                  <c:v>39010</c:v>
                </c:pt>
                <c:pt idx="2270">
                  <c:v>39013</c:v>
                </c:pt>
                <c:pt idx="2271">
                  <c:v>39014</c:v>
                </c:pt>
                <c:pt idx="2272">
                  <c:v>39015</c:v>
                </c:pt>
                <c:pt idx="2273">
                  <c:v>39016</c:v>
                </c:pt>
                <c:pt idx="2274">
                  <c:v>39017</c:v>
                </c:pt>
                <c:pt idx="2275">
                  <c:v>39020</c:v>
                </c:pt>
                <c:pt idx="2276">
                  <c:v>39021</c:v>
                </c:pt>
                <c:pt idx="2277">
                  <c:v>39022</c:v>
                </c:pt>
                <c:pt idx="2278">
                  <c:v>39023</c:v>
                </c:pt>
                <c:pt idx="2279">
                  <c:v>39024</c:v>
                </c:pt>
                <c:pt idx="2280">
                  <c:v>39027</c:v>
                </c:pt>
                <c:pt idx="2281">
                  <c:v>39028</c:v>
                </c:pt>
                <c:pt idx="2282">
                  <c:v>39029</c:v>
                </c:pt>
                <c:pt idx="2283">
                  <c:v>39030</c:v>
                </c:pt>
                <c:pt idx="2284">
                  <c:v>39031</c:v>
                </c:pt>
                <c:pt idx="2285">
                  <c:v>39034</c:v>
                </c:pt>
                <c:pt idx="2286">
                  <c:v>39035</c:v>
                </c:pt>
                <c:pt idx="2287">
                  <c:v>39036</c:v>
                </c:pt>
                <c:pt idx="2288">
                  <c:v>39037</c:v>
                </c:pt>
                <c:pt idx="2289">
                  <c:v>39038</c:v>
                </c:pt>
                <c:pt idx="2290">
                  <c:v>39041</c:v>
                </c:pt>
                <c:pt idx="2291">
                  <c:v>39042</c:v>
                </c:pt>
                <c:pt idx="2292">
                  <c:v>39043</c:v>
                </c:pt>
                <c:pt idx="2293">
                  <c:v>39044</c:v>
                </c:pt>
                <c:pt idx="2294">
                  <c:v>39045</c:v>
                </c:pt>
                <c:pt idx="2295">
                  <c:v>39048</c:v>
                </c:pt>
                <c:pt idx="2296">
                  <c:v>39049</c:v>
                </c:pt>
                <c:pt idx="2297">
                  <c:v>39050</c:v>
                </c:pt>
                <c:pt idx="2298">
                  <c:v>39051</c:v>
                </c:pt>
                <c:pt idx="2299">
                  <c:v>39052</c:v>
                </c:pt>
                <c:pt idx="2300">
                  <c:v>39055</c:v>
                </c:pt>
                <c:pt idx="2301">
                  <c:v>39056</c:v>
                </c:pt>
                <c:pt idx="2302">
                  <c:v>39057</c:v>
                </c:pt>
                <c:pt idx="2303">
                  <c:v>39058</c:v>
                </c:pt>
                <c:pt idx="2304">
                  <c:v>39059</c:v>
                </c:pt>
                <c:pt idx="2305">
                  <c:v>39062</c:v>
                </c:pt>
                <c:pt idx="2306">
                  <c:v>39063</c:v>
                </c:pt>
                <c:pt idx="2307">
                  <c:v>39064</c:v>
                </c:pt>
                <c:pt idx="2308">
                  <c:v>39065</c:v>
                </c:pt>
                <c:pt idx="2309">
                  <c:v>39066</c:v>
                </c:pt>
                <c:pt idx="2310">
                  <c:v>39069</c:v>
                </c:pt>
                <c:pt idx="2311">
                  <c:v>39070</c:v>
                </c:pt>
                <c:pt idx="2312">
                  <c:v>39071</c:v>
                </c:pt>
                <c:pt idx="2313">
                  <c:v>39072</c:v>
                </c:pt>
                <c:pt idx="2314">
                  <c:v>39073</c:v>
                </c:pt>
                <c:pt idx="2315">
                  <c:v>39077</c:v>
                </c:pt>
                <c:pt idx="2316">
                  <c:v>39078</c:v>
                </c:pt>
                <c:pt idx="2317">
                  <c:v>39079</c:v>
                </c:pt>
                <c:pt idx="2318">
                  <c:v>39080</c:v>
                </c:pt>
                <c:pt idx="2319">
                  <c:v>39084</c:v>
                </c:pt>
                <c:pt idx="2320">
                  <c:v>39085</c:v>
                </c:pt>
                <c:pt idx="2321">
                  <c:v>39086</c:v>
                </c:pt>
                <c:pt idx="2322">
                  <c:v>39087</c:v>
                </c:pt>
                <c:pt idx="2323">
                  <c:v>39090</c:v>
                </c:pt>
                <c:pt idx="2324">
                  <c:v>39091</c:v>
                </c:pt>
                <c:pt idx="2325">
                  <c:v>39092</c:v>
                </c:pt>
                <c:pt idx="2326">
                  <c:v>39093</c:v>
                </c:pt>
                <c:pt idx="2327">
                  <c:v>39094</c:v>
                </c:pt>
                <c:pt idx="2328">
                  <c:v>39098</c:v>
                </c:pt>
                <c:pt idx="2329">
                  <c:v>39099</c:v>
                </c:pt>
                <c:pt idx="2330">
                  <c:v>39100</c:v>
                </c:pt>
                <c:pt idx="2331">
                  <c:v>39101</c:v>
                </c:pt>
                <c:pt idx="2332">
                  <c:v>39104</c:v>
                </c:pt>
                <c:pt idx="2333">
                  <c:v>39105</c:v>
                </c:pt>
                <c:pt idx="2334">
                  <c:v>39106</c:v>
                </c:pt>
                <c:pt idx="2335">
                  <c:v>39107</c:v>
                </c:pt>
                <c:pt idx="2336">
                  <c:v>39108</c:v>
                </c:pt>
                <c:pt idx="2337">
                  <c:v>39111</c:v>
                </c:pt>
                <c:pt idx="2338">
                  <c:v>39112</c:v>
                </c:pt>
                <c:pt idx="2339">
                  <c:v>39113</c:v>
                </c:pt>
                <c:pt idx="2340">
                  <c:v>39114</c:v>
                </c:pt>
                <c:pt idx="2341">
                  <c:v>39115</c:v>
                </c:pt>
                <c:pt idx="2342">
                  <c:v>39118</c:v>
                </c:pt>
                <c:pt idx="2343">
                  <c:v>39119</c:v>
                </c:pt>
                <c:pt idx="2344">
                  <c:v>39120</c:v>
                </c:pt>
                <c:pt idx="2345">
                  <c:v>39121</c:v>
                </c:pt>
                <c:pt idx="2346">
                  <c:v>39122</c:v>
                </c:pt>
                <c:pt idx="2347">
                  <c:v>39125</c:v>
                </c:pt>
                <c:pt idx="2348">
                  <c:v>39126</c:v>
                </c:pt>
                <c:pt idx="2349">
                  <c:v>39127</c:v>
                </c:pt>
                <c:pt idx="2350">
                  <c:v>39128</c:v>
                </c:pt>
                <c:pt idx="2351">
                  <c:v>39129</c:v>
                </c:pt>
                <c:pt idx="2352">
                  <c:v>39133</c:v>
                </c:pt>
                <c:pt idx="2353">
                  <c:v>39134</c:v>
                </c:pt>
                <c:pt idx="2354">
                  <c:v>39135</c:v>
                </c:pt>
                <c:pt idx="2355">
                  <c:v>39136</c:v>
                </c:pt>
                <c:pt idx="2356">
                  <c:v>39139</c:v>
                </c:pt>
                <c:pt idx="2357">
                  <c:v>39140</c:v>
                </c:pt>
                <c:pt idx="2358">
                  <c:v>39141</c:v>
                </c:pt>
                <c:pt idx="2359">
                  <c:v>39142</c:v>
                </c:pt>
                <c:pt idx="2360">
                  <c:v>39143</c:v>
                </c:pt>
                <c:pt idx="2361">
                  <c:v>39146</c:v>
                </c:pt>
                <c:pt idx="2362">
                  <c:v>39147</c:v>
                </c:pt>
                <c:pt idx="2363">
                  <c:v>39148</c:v>
                </c:pt>
                <c:pt idx="2364">
                  <c:v>39149</c:v>
                </c:pt>
                <c:pt idx="2365">
                  <c:v>39150</c:v>
                </c:pt>
                <c:pt idx="2366">
                  <c:v>39153</c:v>
                </c:pt>
                <c:pt idx="2367">
                  <c:v>39154</c:v>
                </c:pt>
                <c:pt idx="2368">
                  <c:v>39155</c:v>
                </c:pt>
                <c:pt idx="2369">
                  <c:v>39156</c:v>
                </c:pt>
                <c:pt idx="2370">
                  <c:v>39157</c:v>
                </c:pt>
                <c:pt idx="2371">
                  <c:v>39160</c:v>
                </c:pt>
                <c:pt idx="2372">
                  <c:v>39161</c:v>
                </c:pt>
                <c:pt idx="2373">
                  <c:v>39162</c:v>
                </c:pt>
                <c:pt idx="2374">
                  <c:v>39163</c:v>
                </c:pt>
                <c:pt idx="2375">
                  <c:v>39164</c:v>
                </c:pt>
                <c:pt idx="2376">
                  <c:v>39167</c:v>
                </c:pt>
                <c:pt idx="2377">
                  <c:v>39168</c:v>
                </c:pt>
                <c:pt idx="2378">
                  <c:v>39169</c:v>
                </c:pt>
                <c:pt idx="2379">
                  <c:v>39170</c:v>
                </c:pt>
                <c:pt idx="2380">
                  <c:v>39171</c:v>
                </c:pt>
                <c:pt idx="2381">
                  <c:v>39174</c:v>
                </c:pt>
                <c:pt idx="2382">
                  <c:v>39175</c:v>
                </c:pt>
                <c:pt idx="2383">
                  <c:v>39176</c:v>
                </c:pt>
                <c:pt idx="2384">
                  <c:v>39177</c:v>
                </c:pt>
                <c:pt idx="2385">
                  <c:v>39181</c:v>
                </c:pt>
                <c:pt idx="2386">
                  <c:v>39182</c:v>
                </c:pt>
                <c:pt idx="2387">
                  <c:v>39183</c:v>
                </c:pt>
                <c:pt idx="2388">
                  <c:v>39184</c:v>
                </c:pt>
                <c:pt idx="2389">
                  <c:v>39185</c:v>
                </c:pt>
                <c:pt idx="2390">
                  <c:v>39188</c:v>
                </c:pt>
                <c:pt idx="2391">
                  <c:v>39189</c:v>
                </c:pt>
                <c:pt idx="2392">
                  <c:v>39190</c:v>
                </c:pt>
                <c:pt idx="2393">
                  <c:v>39191</c:v>
                </c:pt>
                <c:pt idx="2394">
                  <c:v>39192</c:v>
                </c:pt>
                <c:pt idx="2395">
                  <c:v>39195</c:v>
                </c:pt>
                <c:pt idx="2396">
                  <c:v>39196</c:v>
                </c:pt>
                <c:pt idx="2397">
                  <c:v>39197</c:v>
                </c:pt>
                <c:pt idx="2398">
                  <c:v>39198</c:v>
                </c:pt>
                <c:pt idx="2399">
                  <c:v>39199</c:v>
                </c:pt>
                <c:pt idx="2400">
                  <c:v>39202</c:v>
                </c:pt>
                <c:pt idx="2401">
                  <c:v>39203</c:v>
                </c:pt>
                <c:pt idx="2402">
                  <c:v>39204</c:v>
                </c:pt>
                <c:pt idx="2403">
                  <c:v>39205</c:v>
                </c:pt>
                <c:pt idx="2404">
                  <c:v>39206</c:v>
                </c:pt>
                <c:pt idx="2405">
                  <c:v>39209</c:v>
                </c:pt>
                <c:pt idx="2406">
                  <c:v>39210</c:v>
                </c:pt>
                <c:pt idx="2407">
                  <c:v>39211</c:v>
                </c:pt>
                <c:pt idx="2408">
                  <c:v>39212</c:v>
                </c:pt>
                <c:pt idx="2409">
                  <c:v>39213</c:v>
                </c:pt>
                <c:pt idx="2410">
                  <c:v>39216</c:v>
                </c:pt>
                <c:pt idx="2411">
                  <c:v>39217</c:v>
                </c:pt>
                <c:pt idx="2412">
                  <c:v>39218</c:v>
                </c:pt>
                <c:pt idx="2413">
                  <c:v>39219</c:v>
                </c:pt>
                <c:pt idx="2414">
                  <c:v>39220</c:v>
                </c:pt>
                <c:pt idx="2415">
                  <c:v>39223</c:v>
                </c:pt>
                <c:pt idx="2416">
                  <c:v>39224</c:v>
                </c:pt>
                <c:pt idx="2417">
                  <c:v>39225</c:v>
                </c:pt>
                <c:pt idx="2418">
                  <c:v>39226</c:v>
                </c:pt>
                <c:pt idx="2419">
                  <c:v>39227</c:v>
                </c:pt>
                <c:pt idx="2420">
                  <c:v>39231</c:v>
                </c:pt>
                <c:pt idx="2421">
                  <c:v>39232</c:v>
                </c:pt>
                <c:pt idx="2422">
                  <c:v>39233</c:v>
                </c:pt>
                <c:pt idx="2423">
                  <c:v>39234</c:v>
                </c:pt>
                <c:pt idx="2424">
                  <c:v>39237</c:v>
                </c:pt>
                <c:pt idx="2425">
                  <c:v>39238</c:v>
                </c:pt>
                <c:pt idx="2426">
                  <c:v>39239</c:v>
                </c:pt>
                <c:pt idx="2427">
                  <c:v>39240</c:v>
                </c:pt>
                <c:pt idx="2428">
                  <c:v>39241</c:v>
                </c:pt>
                <c:pt idx="2429">
                  <c:v>39244</c:v>
                </c:pt>
                <c:pt idx="2430">
                  <c:v>39245</c:v>
                </c:pt>
                <c:pt idx="2431">
                  <c:v>39246</c:v>
                </c:pt>
                <c:pt idx="2432">
                  <c:v>39247</c:v>
                </c:pt>
                <c:pt idx="2433">
                  <c:v>39248</c:v>
                </c:pt>
                <c:pt idx="2434">
                  <c:v>39251</c:v>
                </c:pt>
                <c:pt idx="2435">
                  <c:v>39252</c:v>
                </c:pt>
                <c:pt idx="2436">
                  <c:v>39253</c:v>
                </c:pt>
                <c:pt idx="2437">
                  <c:v>39254</c:v>
                </c:pt>
                <c:pt idx="2438">
                  <c:v>39255</c:v>
                </c:pt>
                <c:pt idx="2439">
                  <c:v>39258</c:v>
                </c:pt>
                <c:pt idx="2440">
                  <c:v>39259</c:v>
                </c:pt>
                <c:pt idx="2441">
                  <c:v>39260</c:v>
                </c:pt>
                <c:pt idx="2442">
                  <c:v>39261</c:v>
                </c:pt>
                <c:pt idx="2443">
                  <c:v>39262</c:v>
                </c:pt>
                <c:pt idx="2444">
                  <c:v>39265</c:v>
                </c:pt>
                <c:pt idx="2445">
                  <c:v>39266</c:v>
                </c:pt>
                <c:pt idx="2446">
                  <c:v>39268</c:v>
                </c:pt>
                <c:pt idx="2447">
                  <c:v>39269</c:v>
                </c:pt>
                <c:pt idx="2448">
                  <c:v>39272</c:v>
                </c:pt>
                <c:pt idx="2449">
                  <c:v>39273</c:v>
                </c:pt>
                <c:pt idx="2450">
                  <c:v>39274</c:v>
                </c:pt>
                <c:pt idx="2451">
                  <c:v>39275</c:v>
                </c:pt>
                <c:pt idx="2452">
                  <c:v>39276</c:v>
                </c:pt>
                <c:pt idx="2453">
                  <c:v>39279</c:v>
                </c:pt>
                <c:pt idx="2454">
                  <c:v>39280</c:v>
                </c:pt>
                <c:pt idx="2455">
                  <c:v>39281</c:v>
                </c:pt>
                <c:pt idx="2456">
                  <c:v>39282</c:v>
                </c:pt>
                <c:pt idx="2457">
                  <c:v>39283</c:v>
                </c:pt>
                <c:pt idx="2458">
                  <c:v>39286</c:v>
                </c:pt>
                <c:pt idx="2459">
                  <c:v>39287</c:v>
                </c:pt>
                <c:pt idx="2460">
                  <c:v>39288</c:v>
                </c:pt>
                <c:pt idx="2461">
                  <c:v>39289</c:v>
                </c:pt>
                <c:pt idx="2462">
                  <c:v>39290</c:v>
                </c:pt>
                <c:pt idx="2463">
                  <c:v>39293</c:v>
                </c:pt>
                <c:pt idx="2464">
                  <c:v>39294</c:v>
                </c:pt>
                <c:pt idx="2465">
                  <c:v>39295</c:v>
                </c:pt>
                <c:pt idx="2466">
                  <c:v>39296</c:v>
                </c:pt>
                <c:pt idx="2467">
                  <c:v>39297</c:v>
                </c:pt>
                <c:pt idx="2468">
                  <c:v>39300</c:v>
                </c:pt>
                <c:pt idx="2469">
                  <c:v>39301</c:v>
                </c:pt>
                <c:pt idx="2470">
                  <c:v>39302</c:v>
                </c:pt>
                <c:pt idx="2471">
                  <c:v>39303</c:v>
                </c:pt>
                <c:pt idx="2472">
                  <c:v>39304</c:v>
                </c:pt>
                <c:pt idx="2473">
                  <c:v>39307</c:v>
                </c:pt>
                <c:pt idx="2474">
                  <c:v>39308</c:v>
                </c:pt>
                <c:pt idx="2475">
                  <c:v>39309</c:v>
                </c:pt>
                <c:pt idx="2476">
                  <c:v>39310</c:v>
                </c:pt>
                <c:pt idx="2477">
                  <c:v>39311</c:v>
                </c:pt>
                <c:pt idx="2478">
                  <c:v>39314</c:v>
                </c:pt>
                <c:pt idx="2479">
                  <c:v>39315</c:v>
                </c:pt>
                <c:pt idx="2480">
                  <c:v>39316</c:v>
                </c:pt>
                <c:pt idx="2481">
                  <c:v>39317</c:v>
                </c:pt>
                <c:pt idx="2482">
                  <c:v>39318</c:v>
                </c:pt>
                <c:pt idx="2483">
                  <c:v>39321</c:v>
                </c:pt>
                <c:pt idx="2484">
                  <c:v>39322</c:v>
                </c:pt>
                <c:pt idx="2485">
                  <c:v>39323</c:v>
                </c:pt>
                <c:pt idx="2486">
                  <c:v>39324</c:v>
                </c:pt>
                <c:pt idx="2487">
                  <c:v>39325</c:v>
                </c:pt>
                <c:pt idx="2488">
                  <c:v>39329</c:v>
                </c:pt>
                <c:pt idx="2489">
                  <c:v>39330</c:v>
                </c:pt>
                <c:pt idx="2490">
                  <c:v>39331</c:v>
                </c:pt>
                <c:pt idx="2491">
                  <c:v>39332</c:v>
                </c:pt>
                <c:pt idx="2492">
                  <c:v>39335</c:v>
                </c:pt>
                <c:pt idx="2493">
                  <c:v>39336</c:v>
                </c:pt>
                <c:pt idx="2494">
                  <c:v>39337</c:v>
                </c:pt>
                <c:pt idx="2495">
                  <c:v>39338</c:v>
                </c:pt>
                <c:pt idx="2496">
                  <c:v>39339</c:v>
                </c:pt>
                <c:pt idx="2497">
                  <c:v>39342</c:v>
                </c:pt>
                <c:pt idx="2498">
                  <c:v>39343</c:v>
                </c:pt>
                <c:pt idx="2499">
                  <c:v>39344</c:v>
                </c:pt>
                <c:pt idx="2500">
                  <c:v>39345</c:v>
                </c:pt>
                <c:pt idx="2501">
                  <c:v>39346</c:v>
                </c:pt>
                <c:pt idx="2502">
                  <c:v>39349</c:v>
                </c:pt>
                <c:pt idx="2503">
                  <c:v>39350</c:v>
                </c:pt>
                <c:pt idx="2504">
                  <c:v>39351</c:v>
                </c:pt>
                <c:pt idx="2505">
                  <c:v>39352</c:v>
                </c:pt>
                <c:pt idx="2506">
                  <c:v>39353</c:v>
                </c:pt>
                <c:pt idx="2507">
                  <c:v>39356</c:v>
                </c:pt>
                <c:pt idx="2508">
                  <c:v>39357</c:v>
                </c:pt>
                <c:pt idx="2509">
                  <c:v>39358</c:v>
                </c:pt>
                <c:pt idx="2510">
                  <c:v>39359</c:v>
                </c:pt>
                <c:pt idx="2511">
                  <c:v>39360</c:v>
                </c:pt>
                <c:pt idx="2512">
                  <c:v>39363</c:v>
                </c:pt>
                <c:pt idx="2513">
                  <c:v>39364</c:v>
                </c:pt>
                <c:pt idx="2514">
                  <c:v>39365</c:v>
                </c:pt>
                <c:pt idx="2515">
                  <c:v>39366</c:v>
                </c:pt>
                <c:pt idx="2516">
                  <c:v>39367</c:v>
                </c:pt>
                <c:pt idx="2517">
                  <c:v>39370</c:v>
                </c:pt>
                <c:pt idx="2518">
                  <c:v>39371</c:v>
                </c:pt>
                <c:pt idx="2519">
                  <c:v>39372</c:v>
                </c:pt>
                <c:pt idx="2520">
                  <c:v>39373</c:v>
                </c:pt>
                <c:pt idx="2521">
                  <c:v>39374</c:v>
                </c:pt>
                <c:pt idx="2522">
                  <c:v>39377</c:v>
                </c:pt>
                <c:pt idx="2523">
                  <c:v>39378</c:v>
                </c:pt>
                <c:pt idx="2524">
                  <c:v>39379</c:v>
                </c:pt>
                <c:pt idx="2525">
                  <c:v>39380</c:v>
                </c:pt>
                <c:pt idx="2526">
                  <c:v>39381</c:v>
                </c:pt>
                <c:pt idx="2527">
                  <c:v>39384</c:v>
                </c:pt>
                <c:pt idx="2528">
                  <c:v>39385</c:v>
                </c:pt>
                <c:pt idx="2529">
                  <c:v>39386</c:v>
                </c:pt>
                <c:pt idx="2530">
                  <c:v>39387</c:v>
                </c:pt>
                <c:pt idx="2531">
                  <c:v>39388</c:v>
                </c:pt>
                <c:pt idx="2532">
                  <c:v>39391</c:v>
                </c:pt>
                <c:pt idx="2533">
                  <c:v>39392</c:v>
                </c:pt>
                <c:pt idx="2534">
                  <c:v>39393</c:v>
                </c:pt>
                <c:pt idx="2535">
                  <c:v>39394</c:v>
                </c:pt>
                <c:pt idx="2536">
                  <c:v>39395</c:v>
                </c:pt>
                <c:pt idx="2537">
                  <c:v>39398</c:v>
                </c:pt>
                <c:pt idx="2538">
                  <c:v>39399</c:v>
                </c:pt>
                <c:pt idx="2539">
                  <c:v>39400</c:v>
                </c:pt>
                <c:pt idx="2540">
                  <c:v>39401</c:v>
                </c:pt>
                <c:pt idx="2541">
                  <c:v>39402</c:v>
                </c:pt>
                <c:pt idx="2542">
                  <c:v>39405</c:v>
                </c:pt>
                <c:pt idx="2543">
                  <c:v>39406</c:v>
                </c:pt>
                <c:pt idx="2544">
                  <c:v>39407</c:v>
                </c:pt>
                <c:pt idx="2545">
                  <c:v>39409</c:v>
                </c:pt>
                <c:pt idx="2546">
                  <c:v>39412</c:v>
                </c:pt>
                <c:pt idx="2547">
                  <c:v>39413</c:v>
                </c:pt>
                <c:pt idx="2548">
                  <c:v>39414</c:v>
                </c:pt>
                <c:pt idx="2549">
                  <c:v>39415</c:v>
                </c:pt>
                <c:pt idx="2550">
                  <c:v>39416</c:v>
                </c:pt>
                <c:pt idx="2551">
                  <c:v>39419</c:v>
                </c:pt>
                <c:pt idx="2552">
                  <c:v>39420</c:v>
                </c:pt>
                <c:pt idx="2553">
                  <c:v>39421</c:v>
                </c:pt>
                <c:pt idx="2554">
                  <c:v>39422</c:v>
                </c:pt>
                <c:pt idx="2555">
                  <c:v>39423</c:v>
                </c:pt>
                <c:pt idx="2556">
                  <c:v>39426</c:v>
                </c:pt>
                <c:pt idx="2557">
                  <c:v>39427</c:v>
                </c:pt>
                <c:pt idx="2558">
                  <c:v>39428</c:v>
                </c:pt>
                <c:pt idx="2559">
                  <c:v>39429</c:v>
                </c:pt>
                <c:pt idx="2560">
                  <c:v>39430</c:v>
                </c:pt>
                <c:pt idx="2561">
                  <c:v>39433</c:v>
                </c:pt>
                <c:pt idx="2562">
                  <c:v>39434</c:v>
                </c:pt>
                <c:pt idx="2563">
                  <c:v>39435</c:v>
                </c:pt>
                <c:pt idx="2564">
                  <c:v>39436</c:v>
                </c:pt>
                <c:pt idx="2565">
                  <c:v>39437</c:v>
                </c:pt>
                <c:pt idx="2566">
                  <c:v>39440</c:v>
                </c:pt>
                <c:pt idx="2567">
                  <c:v>39442</c:v>
                </c:pt>
                <c:pt idx="2568">
                  <c:v>39443</c:v>
                </c:pt>
                <c:pt idx="2569">
                  <c:v>39444</c:v>
                </c:pt>
                <c:pt idx="2570">
                  <c:v>39447</c:v>
                </c:pt>
                <c:pt idx="2571">
                  <c:v>39449</c:v>
                </c:pt>
                <c:pt idx="2572">
                  <c:v>39450</c:v>
                </c:pt>
                <c:pt idx="2573">
                  <c:v>39451</c:v>
                </c:pt>
                <c:pt idx="2574">
                  <c:v>39454</c:v>
                </c:pt>
                <c:pt idx="2575">
                  <c:v>39455</c:v>
                </c:pt>
                <c:pt idx="2576">
                  <c:v>39456</c:v>
                </c:pt>
                <c:pt idx="2577">
                  <c:v>39457</c:v>
                </c:pt>
                <c:pt idx="2578">
                  <c:v>39458</c:v>
                </c:pt>
                <c:pt idx="2579">
                  <c:v>39461</c:v>
                </c:pt>
                <c:pt idx="2580">
                  <c:v>39462</c:v>
                </c:pt>
                <c:pt idx="2581">
                  <c:v>39463</c:v>
                </c:pt>
                <c:pt idx="2582">
                  <c:v>39464</c:v>
                </c:pt>
                <c:pt idx="2583">
                  <c:v>39465</c:v>
                </c:pt>
                <c:pt idx="2584">
                  <c:v>39469</c:v>
                </c:pt>
                <c:pt idx="2585">
                  <c:v>39470</c:v>
                </c:pt>
                <c:pt idx="2586">
                  <c:v>39471</c:v>
                </c:pt>
                <c:pt idx="2587">
                  <c:v>39472</c:v>
                </c:pt>
                <c:pt idx="2588">
                  <c:v>39475</c:v>
                </c:pt>
                <c:pt idx="2589">
                  <c:v>39476</c:v>
                </c:pt>
                <c:pt idx="2590">
                  <c:v>39477</c:v>
                </c:pt>
                <c:pt idx="2591">
                  <c:v>39478</c:v>
                </c:pt>
                <c:pt idx="2592">
                  <c:v>39479</c:v>
                </c:pt>
                <c:pt idx="2593">
                  <c:v>39482</c:v>
                </c:pt>
                <c:pt idx="2594">
                  <c:v>39483</c:v>
                </c:pt>
                <c:pt idx="2595">
                  <c:v>39484</c:v>
                </c:pt>
                <c:pt idx="2596">
                  <c:v>39485</c:v>
                </c:pt>
                <c:pt idx="2597">
                  <c:v>39486</c:v>
                </c:pt>
                <c:pt idx="2598">
                  <c:v>39489</c:v>
                </c:pt>
                <c:pt idx="2599">
                  <c:v>39490</c:v>
                </c:pt>
                <c:pt idx="2600">
                  <c:v>39491</c:v>
                </c:pt>
                <c:pt idx="2601">
                  <c:v>39492</c:v>
                </c:pt>
                <c:pt idx="2602">
                  <c:v>39493</c:v>
                </c:pt>
                <c:pt idx="2603">
                  <c:v>39497</c:v>
                </c:pt>
                <c:pt idx="2604">
                  <c:v>39498</c:v>
                </c:pt>
                <c:pt idx="2605">
                  <c:v>39499</c:v>
                </c:pt>
                <c:pt idx="2606">
                  <c:v>39500</c:v>
                </c:pt>
                <c:pt idx="2607">
                  <c:v>39503</c:v>
                </c:pt>
                <c:pt idx="2608">
                  <c:v>39504</c:v>
                </c:pt>
                <c:pt idx="2609">
                  <c:v>39505</c:v>
                </c:pt>
                <c:pt idx="2610">
                  <c:v>39506</c:v>
                </c:pt>
                <c:pt idx="2611">
                  <c:v>39507</c:v>
                </c:pt>
                <c:pt idx="2612">
                  <c:v>39510</c:v>
                </c:pt>
                <c:pt idx="2613">
                  <c:v>39511</c:v>
                </c:pt>
                <c:pt idx="2614">
                  <c:v>39512</c:v>
                </c:pt>
                <c:pt idx="2615">
                  <c:v>39513</c:v>
                </c:pt>
                <c:pt idx="2616">
                  <c:v>39514</c:v>
                </c:pt>
                <c:pt idx="2617">
                  <c:v>39517</c:v>
                </c:pt>
                <c:pt idx="2618">
                  <c:v>39518</c:v>
                </c:pt>
                <c:pt idx="2619">
                  <c:v>39519</c:v>
                </c:pt>
                <c:pt idx="2620">
                  <c:v>39520</c:v>
                </c:pt>
                <c:pt idx="2621">
                  <c:v>39521</c:v>
                </c:pt>
                <c:pt idx="2622">
                  <c:v>39524</c:v>
                </c:pt>
                <c:pt idx="2623">
                  <c:v>39525</c:v>
                </c:pt>
                <c:pt idx="2624">
                  <c:v>39526</c:v>
                </c:pt>
                <c:pt idx="2625">
                  <c:v>39527</c:v>
                </c:pt>
                <c:pt idx="2626">
                  <c:v>39531</c:v>
                </c:pt>
                <c:pt idx="2627">
                  <c:v>39532</c:v>
                </c:pt>
                <c:pt idx="2628">
                  <c:v>39533</c:v>
                </c:pt>
                <c:pt idx="2629">
                  <c:v>39534</c:v>
                </c:pt>
                <c:pt idx="2630">
                  <c:v>39535</c:v>
                </c:pt>
                <c:pt idx="2631">
                  <c:v>39538</c:v>
                </c:pt>
                <c:pt idx="2632">
                  <c:v>39539</c:v>
                </c:pt>
                <c:pt idx="2633">
                  <c:v>39540</c:v>
                </c:pt>
                <c:pt idx="2634">
                  <c:v>39541</c:v>
                </c:pt>
                <c:pt idx="2635">
                  <c:v>39542</c:v>
                </c:pt>
                <c:pt idx="2636">
                  <c:v>39545</c:v>
                </c:pt>
                <c:pt idx="2637">
                  <c:v>39546</c:v>
                </c:pt>
                <c:pt idx="2638">
                  <c:v>39547</c:v>
                </c:pt>
                <c:pt idx="2639">
                  <c:v>39548</c:v>
                </c:pt>
                <c:pt idx="2640">
                  <c:v>39549</c:v>
                </c:pt>
                <c:pt idx="2641">
                  <c:v>39552</c:v>
                </c:pt>
                <c:pt idx="2642">
                  <c:v>39553</c:v>
                </c:pt>
                <c:pt idx="2643">
                  <c:v>39554</c:v>
                </c:pt>
                <c:pt idx="2644">
                  <c:v>39555</c:v>
                </c:pt>
                <c:pt idx="2645">
                  <c:v>39556</c:v>
                </c:pt>
                <c:pt idx="2646">
                  <c:v>39559</c:v>
                </c:pt>
                <c:pt idx="2647">
                  <c:v>39560</c:v>
                </c:pt>
                <c:pt idx="2648">
                  <c:v>39561</c:v>
                </c:pt>
                <c:pt idx="2649">
                  <c:v>39562</c:v>
                </c:pt>
                <c:pt idx="2650">
                  <c:v>39563</c:v>
                </c:pt>
                <c:pt idx="2651">
                  <c:v>39566</c:v>
                </c:pt>
                <c:pt idx="2652">
                  <c:v>39567</c:v>
                </c:pt>
                <c:pt idx="2653">
                  <c:v>39568</c:v>
                </c:pt>
                <c:pt idx="2654">
                  <c:v>39569</c:v>
                </c:pt>
                <c:pt idx="2655">
                  <c:v>39570</c:v>
                </c:pt>
                <c:pt idx="2656">
                  <c:v>39573</c:v>
                </c:pt>
                <c:pt idx="2657">
                  <c:v>39574</c:v>
                </c:pt>
                <c:pt idx="2658">
                  <c:v>39575</c:v>
                </c:pt>
                <c:pt idx="2659">
                  <c:v>39576</c:v>
                </c:pt>
                <c:pt idx="2660">
                  <c:v>39577</c:v>
                </c:pt>
                <c:pt idx="2661">
                  <c:v>39580</c:v>
                </c:pt>
                <c:pt idx="2662">
                  <c:v>39581</c:v>
                </c:pt>
                <c:pt idx="2663">
                  <c:v>39582</c:v>
                </c:pt>
                <c:pt idx="2664">
                  <c:v>39583</c:v>
                </c:pt>
                <c:pt idx="2665">
                  <c:v>39584</c:v>
                </c:pt>
                <c:pt idx="2666">
                  <c:v>39587</c:v>
                </c:pt>
                <c:pt idx="2667">
                  <c:v>39588</c:v>
                </c:pt>
                <c:pt idx="2668">
                  <c:v>39589</c:v>
                </c:pt>
                <c:pt idx="2669">
                  <c:v>39590</c:v>
                </c:pt>
                <c:pt idx="2670">
                  <c:v>39591</c:v>
                </c:pt>
                <c:pt idx="2671">
                  <c:v>39595</c:v>
                </c:pt>
                <c:pt idx="2672">
                  <c:v>39596</c:v>
                </c:pt>
                <c:pt idx="2673">
                  <c:v>39597</c:v>
                </c:pt>
                <c:pt idx="2674">
                  <c:v>39598</c:v>
                </c:pt>
                <c:pt idx="2675">
                  <c:v>39601</c:v>
                </c:pt>
                <c:pt idx="2676">
                  <c:v>39602</c:v>
                </c:pt>
                <c:pt idx="2677">
                  <c:v>39603</c:v>
                </c:pt>
                <c:pt idx="2678">
                  <c:v>39604</c:v>
                </c:pt>
                <c:pt idx="2679">
                  <c:v>39605</c:v>
                </c:pt>
                <c:pt idx="2680">
                  <c:v>39608</c:v>
                </c:pt>
                <c:pt idx="2681">
                  <c:v>39609</c:v>
                </c:pt>
                <c:pt idx="2682">
                  <c:v>39610</c:v>
                </c:pt>
                <c:pt idx="2683">
                  <c:v>39611</c:v>
                </c:pt>
                <c:pt idx="2684">
                  <c:v>39612</c:v>
                </c:pt>
                <c:pt idx="2685">
                  <c:v>39615</c:v>
                </c:pt>
                <c:pt idx="2686">
                  <c:v>39616</c:v>
                </c:pt>
                <c:pt idx="2687">
                  <c:v>39617</c:v>
                </c:pt>
                <c:pt idx="2688">
                  <c:v>39618</c:v>
                </c:pt>
                <c:pt idx="2689">
                  <c:v>39619</c:v>
                </c:pt>
                <c:pt idx="2690">
                  <c:v>39622</c:v>
                </c:pt>
                <c:pt idx="2691">
                  <c:v>39623</c:v>
                </c:pt>
                <c:pt idx="2692">
                  <c:v>39624</c:v>
                </c:pt>
                <c:pt idx="2693">
                  <c:v>39625</c:v>
                </c:pt>
                <c:pt idx="2694">
                  <c:v>39626</c:v>
                </c:pt>
                <c:pt idx="2695">
                  <c:v>39629</c:v>
                </c:pt>
                <c:pt idx="2696">
                  <c:v>39630</c:v>
                </c:pt>
                <c:pt idx="2697">
                  <c:v>39631</c:v>
                </c:pt>
                <c:pt idx="2698">
                  <c:v>39632</c:v>
                </c:pt>
                <c:pt idx="2699">
                  <c:v>39636</c:v>
                </c:pt>
                <c:pt idx="2700">
                  <c:v>39637</c:v>
                </c:pt>
                <c:pt idx="2701">
                  <c:v>39638</c:v>
                </c:pt>
                <c:pt idx="2702">
                  <c:v>39639</c:v>
                </c:pt>
                <c:pt idx="2703">
                  <c:v>39640</c:v>
                </c:pt>
                <c:pt idx="2704">
                  <c:v>39643</c:v>
                </c:pt>
                <c:pt idx="2705">
                  <c:v>39644</c:v>
                </c:pt>
                <c:pt idx="2706">
                  <c:v>39645</c:v>
                </c:pt>
                <c:pt idx="2707">
                  <c:v>39646</c:v>
                </c:pt>
                <c:pt idx="2708">
                  <c:v>39647</c:v>
                </c:pt>
                <c:pt idx="2709">
                  <c:v>39650</c:v>
                </c:pt>
                <c:pt idx="2710">
                  <c:v>39651</c:v>
                </c:pt>
                <c:pt idx="2711">
                  <c:v>39652</c:v>
                </c:pt>
                <c:pt idx="2712">
                  <c:v>39653</c:v>
                </c:pt>
                <c:pt idx="2713">
                  <c:v>39654</c:v>
                </c:pt>
                <c:pt idx="2714">
                  <c:v>39657</c:v>
                </c:pt>
                <c:pt idx="2715">
                  <c:v>39658</c:v>
                </c:pt>
                <c:pt idx="2716">
                  <c:v>39659</c:v>
                </c:pt>
                <c:pt idx="2717">
                  <c:v>39660</c:v>
                </c:pt>
                <c:pt idx="2718">
                  <c:v>39661</c:v>
                </c:pt>
                <c:pt idx="2719">
                  <c:v>39664</c:v>
                </c:pt>
                <c:pt idx="2720">
                  <c:v>39665</c:v>
                </c:pt>
                <c:pt idx="2721">
                  <c:v>39666</c:v>
                </c:pt>
                <c:pt idx="2722">
                  <c:v>39667</c:v>
                </c:pt>
                <c:pt idx="2723">
                  <c:v>39668</c:v>
                </c:pt>
                <c:pt idx="2724">
                  <c:v>39671</c:v>
                </c:pt>
                <c:pt idx="2725">
                  <c:v>39672</c:v>
                </c:pt>
                <c:pt idx="2726">
                  <c:v>39673</c:v>
                </c:pt>
                <c:pt idx="2727">
                  <c:v>39674</c:v>
                </c:pt>
                <c:pt idx="2728">
                  <c:v>39675</c:v>
                </c:pt>
                <c:pt idx="2729">
                  <c:v>39678</c:v>
                </c:pt>
                <c:pt idx="2730">
                  <c:v>39679</c:v>
                </c:pt>
                <c:pt idx="2731">
                  <c:v>39680</c:v>
                </c:pt>
                <c:pt idx="2732">
                  <c:v>39681</c:v>
                </c:pt>
                <c:pt idx="2733">
                  <c:v>39682</c:v>
                </c:pt>
                <c:pt idx="2734">
                  <c:v>39685</c:v>
                </c:pt>
                <c:pt idx="2735">
                  <c:v>39686</c:v>
                </c:pt>
                <c:pt idx="2736">
                  <c:v>39687</c:v>
                </c:pt>
                <c:pt idx="2737">
                  <c:v>39688</c:v>
                </c:pt>
                <c:pt idx="2738">
                  <c:v>39689</c:v>
                </c:pt>
                <c:pt idx="2739">
                  <c:v>39693</c:v>
                </c:pt>
                <c:pt idx="2740">
                  <c:v>39694</c:v>
                </c:pt>
                <c:pt idx="2741">
                  <c:v>39695</c:v>
                </c:pt>
                <c:pt idx="2742">
                  <c:v>39696</c:v>
                </c:pt>
                <c:pt idx="2743">
                  <c:v>39699</c:v>
                </c:pt>
                <c:pt idx="2744">
                  <c:v>39700</c:v>
                </c:pt>
                <c:pt idx="2745">
                  <c:v>39701</c:v>
                </c:pt>
                <c:pt idx="2746">
                  <c:v>39702</c:v>
                </c:pt>
                <c:pt idx="2747">
                  <c:v>39703</c:v>
                </c:pt>
                <c:pt idx="2748">
                  <c:v>39706</c:v>
                </c:pt>
                <c:pt idx="2749">
                  <c:v>39707</c:v>
                </c:pt>
                <c:pt idx="2750">
                  <c:v>39708</c:v>
                </c:pt>
                <c:pt idx="2751">
                  <c:v>39709</c:v>
                </c:pt>
                <c:pt idx="2752">
                  <c:v>39710</c:v>
                </c:pt>
                <c:pt idx="2753">
                  <c:v>39713</c:v>
                </c:pt>
                <c:pt idx="2754">
                  <c:v>39714</c:v>
                </c:pt>
                <c:pt idx="2755">
                  <c:v>39715</c:v>
                </c:pt>
                <c:pt idx="2756">
                  <c:v>39716</c:v>
                </c:pt>
                <c:pt idx="2757">
                  <c:v>39717</c:v>
                </c:pt>
                <c:pt idx="2758">
                  <c:v>39720</c:v>
                </c:pt>
                <c:pt idx="2759">
                  <c:v>39721</c:v>
                </c:pt>
                <c:pt idx="2760">
                  <c:v>39722</c:v>
                </c:pt>
                <c:pt idx="2761">
                  <c:v>39723</c:v>
                </c:pt>
                <c:pt idx="2762">
                  <c:v>39724</c:v>
                </c:pt>
                <c:pt idx="2763">
                  <c:v>39727</c:v>
                </c:pt>
                <c:pt idx="2764">
                  <c:v>39728</c:v>
                </c:pt>
                <c:pt idx="2765">
                  <c:v>39729</c:v>
                </c:pt>
                <c:pt idx="2766">
                  <c:v>39730</c:v>
                </c:pt>
                <c:pt idx="2767">
                  <c:v>39731</c:v>
                </c:pt>
                <c:pt idx="2768">
                  <c:v>39734</c:v>
                </c:pt>
                <c:pt idx="2769">
                  <c:v>39735</c:v>
                </c:pt>
                <c:pt idx="2770">
                  <c:v>39736</c:v>
                </c:pt>
                <c:pt idx="2771">
                  <c:v>39737</c:v>
                </c:pt>
                <c:pt idx="2772">
                  <c:v>39738</c:v>
                </c:pt>
                <c:pt idx="2773">
                  <c:v>39741</c:v>
                </c:pt>
                <c:pt idx="2774">
                  <c:v>39742</c:v>
                </c:pt>
                <c:pt idx="2775">
                  <c:v>39743</c:v>
                </c:pt>
                <c:pt idx="2776">
                  <c:v>39744</c:v>
                </c:pt>
                <c:pt idx="2777">
                  <c:v>39745</c:v>
                </c:pt>
                <c:pt idx="2778">
                  <c:v>39748</c:v>
                </c:pt>
                <c:pt idx="2779">
                  <c:v>39749</c:v>
                </c:pt>
                <c:pt idx="2780">
                  <c:v>39750</c:v>
                </c:pt>
                <c:pt idx="2781">
                  <c:v>39751</c:v>
                </c:pt>
                <c:pt idx="2782">
                  <c:v>39752</c:v>
                </c:pt>
                <c:pt idx="2783">
                  <c:v>39755</c:v>
                </c:pt>
                <c:pt idx="2784">
                  <c:v>39756</c:v>
                </c:pt>
                <c:pt idx="2785">
                  <c:v>39757</c:v>
                </c:pt>
                <c:pt idx="2786">
                  <c:v>39758</c:v>
                </c:pt>
                <c:pt idx="2787">
                  <c:v>39759</c:v>
                </c:pt>
                <c:pt idx="2788">
                  <c:v>39762</c:v>
                </c:pt>
                <c:pt idx="2789">
                  <c:v>39763</c:v>
                </c:pt>
                <c:pt idx="2790">
                  <c:v>39764</c:v>
                </c:pt>
                <c:pt idx="2791">
                  <c:v>39765</c:v>
                </c:pt>
                <c:pt idx="2792">
                  <c:v>39766</c:v>
                </c:pt>
                <c:pt idx="2793">
                  <c:v>39769</c:v>
                </c:pt>
                <c:pt idx="2794">
                  <c:v>39770</c:v>
                </c:pt>
                <c:pt idx="2795">
                  <c:v>39771</c:v>
                </c:pt>
                <c:pt idx="2796">
                  <c:v>39772</c:v>
                </c:pt>
                <c:pt idx="2797">
                  <c:v>39773</c:v>
                </c:pt>
                <c:pt idx="2798">
                  <c:v>39776</c:v>
                </c:pt>
                <c:pt idx="2799">
                  <c:v>39777</c:v>
                </c:pt>
                <c:pt idx="2800">
                  <c:v>39778</c:v>
                </c:pt>
                <c:pt idx="2801">
                  <c:v>39780</c:v>
                </c:pt>
                <c:pt idx="2802">
                  <c:v>39783</c:v>
                </c:pt>
                <c:pt idx="2803">
                  <c:v>39784</c:v>
                </c:pt>
                <c:pt idx="2804">
                  <c:v>39785</c:v>
                </c:pt>
                <c:pt idx="2805">
                  <c:v>39786</c:v>
                </c:pt>
                <c:pt idx="2806">
                  <c:v>39787</c:v>
                </c:pt>
                <c:pt idx="2807">
                  <c:v>39790</c:v>
                </c:pt>
                <c:pt idx="2808">
                  <c:v>39791</c:v>
                </c:pt>
                <c:pt idx="2809">
                  <c:v>39792</c:v>
                </c:pt>
                <c:pt idx="2810">
                  <c:v>39793</c:v>
                </c:pt>
                <c:pt idx="2811">
                  <c:v>39794</c:v>
                </c:pt>
                <c:pt idx="2812">
                  <c:v>39797</c:v>
                </c:pt>
                <c:pt idx="2813">
                  <c:v>39798</c:v>
                </c:pt>
                <c:pt idx="2814">
                  <c:v>39799</c:v>
                </c:pt>
                <c:pt idx="2815">
                  <c:v>39800</c:v>
                </c:pt>
                <c:pt idx="2816">
                  <c:v>39801</c:v>
                </c:pt>
                <c:pt idx="2817">
                  <c:v>39804</c:v>
                </c:pt>
                <c:pt idx="2818">
                  <c:v>39805</c:v>
                </c:pt>
                <c:pt idx="2819">
                  <c:v>39806</c:v>
                </c:pt>
                <c:pt idx="2820">
                  <c:v>39808</c:v>
                </c:pt>
                <c:pt idx="2821">
                  <c:v>39811</c:v>
                </c:pt>
                <c:pt idx="2822">
                  <c:v>39812</c:v>
                </c:pt>
                <c:pt idx="2823">
                  <c:v>39813</c:v>
                </c:pt>
                <c:pt idx="2824">
                  <c:v>39815</c:v>
                </c:pt>
                <c:pt idx="2825">
                  <c:v>39818</c:v>
                </c:pt>
                <c:pt idx="2826">
                  <c:v>39819</c:v>
                </c:pt>
                <c:pt idx="2827">
                  <c:v>39820</c:v>
                </c:pt>
                <c:pt idx="2828">
                  <c:v>39821</c:v>
                </c:pt>
                <c:pt idx="2829">
                  <c:v>39822</c:v>
                </c:pt>
                <c:pt idx="2830">
                  <c:v>39825</c:v>
                </c:pt>
                <c:pt idx="2831">
                  <c:v>39826</c:v>
                </c:pt>
                <c:pt idx="2832">
                  <c:v>39827</c:v>
                </c:pt>
                <c:pt idx="2833">
                  <c:v>39828</c:v>
                </c:pt>
                <c:pt idx="2834">
                  <c:v>39829</c:v>
                </c:pt>
                <c:pt idx="2835">
                  <c:v>39833</c:v>
                </c:pt>
                <c:pt idx="2836">
                  <c:v>39834</c:v>
                </c:pt>
                <c:pt idx="2837">
                  <c:v>39835</c:v>
                </c:pt>
                <c:pt idx="2838">
                  <c:v>39836</c:v>
                </c:pt>
                <c:pt idx="2839">
                  <c:v>39839</c:v>
                </c:pt>
                <c:pt idx="2840">
                  <c:v>39840</c:v>
                </c:pt>
                <c:pt idx="2841">
                  <c:v>39841</c:v>
                </c:pt>
                <c:pt idx="2842">
                  <c:v>39842</c:v>
                </c:pt>
                <c:pt idx="2843">
                  <c:v>39843</c:v>
                </c:pt>
                <c:pt idx="2844">
                  <c:v>39846</c:v>
                </c:pt>
                <c:pt idx="2845">
                  <c:v>39847</c:v>
                </c:pt>
                <c:pt idx="2846">
                  <c:v>39848</c:v>
                </c:pt>
                <c:pt idx="2847">
                  <c:v>39849</c:v>
                </c:pt>
                <c:pt idx="2848">
                  <c:v>39850</c:v>
                </c:pt>
                <c:pt idx="2849">
                  <c:v>39853</c:v>
                </c:pt>
                <c:pt idx="2850">
                  <c:v>39854</c:v>
                </c:pt>
                <c:pt idx="2851">
                  <c:v>39855</c:v>
                </c:pt>
                <c:pt idx="2852">
                  <c:v>39856</c:v>
                </c:pt>
                <c:pt idx="2853">
                  <c:v>39857</c:v>
                </c:pt>
                <c:pt idx="2854">
                  <c:v>39861</c:v>
                </c:pt>
                <c:pt idx="2855">
                  <c:v>39862</c:v>
                </c:pt>
                <c:pt idx="2856">
                  <c:v>39863</c:v>
                </c:pt>
                <c:pt idx="2857">
                  <c:v>39864</c:v>
                </c:pt>
                <c:pt idx="2858">
                  <c:v>39867</c:v>
                </c:pt>
                <c:pt idx="2859">
                  <c:v>39868</c:v>
                </c:pt>
                <c:pt idx="2860">
                  <c:v>39869</c:v>
                </c:pt>
                <c:pt idx="2861">
                  <c:v>39870</c:v>
                </c:pt>
                <c:pt idx="2862">
                  <c:v>39871</c:v>
                </c:pt>
                <c:pt idx="2863">
                  <c:v>39874</c:v>
                </c:pt>
                <c:pt idx="2864">
                  <c:v>39875</c:v>
                </c:pt>
                <c:pt idx="2865">
                  <c:v>39876</c:v>
                </c:pt>
                <c:pt idx="2866">
                  <c:v>39877</c:v>
                </c:pt>
                <c:pt idx="2867">
                  <c:v>39878</c:v>
                </c:pt>
                <c:pt idx="2868">
                  <c:v>39881</c:v>
                </c:pt>
                <c:pt idx="2869">
                  <c:v>39882</c:v>
                </c:pt>
                <c:pt idx="2870">
                  <c:v>39883</c:v>
                </c:pt>
                <c:pt idx="2871">
                  <c:v>39884</c:v>
                </c:pt>
                <c:pt idx="2872">
                  <c:v>39885</c:v>
                </c:pt>
                <c:pt idx="2873">
                  <c:v>39888</c:v>
                </c:pt>
                <c:pt idx="2874">
                  <c:v>39889</c:v>
                </c:pt>
                <c:pt idx="2875">
                  <c:v>39890</c:v>
                </c:pt>
                <c:pt idx="2876">
                  <c:v>39891</c:v>
                </c:pt>
                <c:pt idx="2877">
                  <c:v>39892</c:v>
                </c:pt>
                <c:pt idx="2878">
                  <c:v>39895</c:v>
                </c:pt>
                <c:pt idx="2879">
                  <c:v>39896</c:v>
                </c:pt>
                <c:pt idx="2880">
                  <c:v>39897</c:v>
                </c:pt>
                <c:pt idx="2881">
                  <c:v>39898</c:v>
                </c:pt>
                <c:pt idx="2882">
                  <c:v>39899</c:v>
                </c:pt>
                <c:pt idx="2883">
                  <c:v>39902</c:v>
                </c:pt>
                <c:pt idx="2884">
                  <c:v>39903</c:v>
                </c:pt>
                <c:pt idx="2885">
                  <c:v>39904</c:v>
                </c:pt>
                <c:pt idx="2886">
                  <c:v>39905</c:v>
                </c:pt>
                <c:pt idx="2887">
                  <c:v>39906</c:v>
                </c:pt>
                <c:pt idx="2888">
                  <c:v>39909</c:v>
                </c:pt>
                <c:pt idx="2889">
                  <c:v>39910</c:v>
                </c:pt>
                <c:pt idx="2890">
                  <c:v>39911</c:v>
                </c:pt>
                <c:pt idx="2891">
                  <c:v>39912</c:v>
                </c:pt>
                <c:pt idx="2892">
                  <c:v>39916</c:v>
                </c:pt>
                <c:pt idx="2893">
                  <c:v>39917</c:v>
                </c:pt>
                <c:pt idx="2894">
                  <c:v>39918</c:v>
                </c:pt>
                <c:pt idx="2895">
                  <c:v>39919</c:v>
                </c:pt>
                <c:pt idx="2896">
                  <c:v>39920</c:v>
                </c:pt>
                <c:pt idx="2897">
                  <c:v>39923</c:v>
                </c:pt>
                <c:pt idx="2898">
                  <c:v>39924</c:v>
                </c:pt>
                <c:pt idx="2899">
                  <c:v>39925</c:v>
                </c:pt>
                <c:pt idx="2900">
                  <c:v>39926</c:v>
                </c:pt>
                <c:pt idx="2901">
                  <c:v>39927</c:v>
                </c:pt>
                <c:pt idx="2902">
                  <c:v>39930</c:v>
                </c:pt>
                <c:pt idx="2903">
                  <c:v>39931</c:v>
                </c:pt>
                <c:pt idx="2904">
                  <c:v>39932</c:v>
                </c:pt>
                <c:pt idx="2905">
                  <c:v>39933</c:v>
                </c:pt>
                <c:pt idx="2906">
                  <c:v>39934</c:v>
                </c:pt>
                <c:pt idx="2907">
                  <c:v>39937</c:v>
                </c:pt>
                <c:pt idx="2908">
                  <c:v>39938</c:v>
                </c:pt>
                <c:pt idx="2909">
                  <c:v>39939</c:v>
                </c:pt>
                <c:pt idx="2910">
                  <c:v>39940</c:v>
                </c:pt>
                <c:pt idx="2911">
                  <c:v>39941</c:v>
                </c:pt>
                <c:pt idx="2912">
                  <c:v>39944</c:v>
                </c:pt>
                <c:pt idx="2913">
                  <c:v>39945</c:v>
                </c:pt>
                <c:pt idx="2914">
                  <c:v>39946</c:v>
                </c:pt>
                <c:pt idx="2915">
                  <c:v>39947</c:v>
                </c:pt>
                <c:pt idx="2916">
                  <c:v>39948</c:v>
                </c:pt>
                <c:pt idx="2917">
                  <c:v>39951</c:v>
                </c:pt>
                <c:pt idx="2918">
                  <c:v>39952</c:v>
                </c:pt>
                <c:pt idx="2919">
                  <c:v>39953</c:v>
                </c:pt>
                <c:pt idx="2920">
                  <c:v>39954</c:v>
                </c:pt>
                <c:pt idx="2921">
                  <c:v>39955</c:v>
                </c:pt>
                <c:pt idx="2922">
                  <c:v>39959</c:v>
                </c:pt>
                <c:pt idx="2923">
                  <c:v>39960</c:v>
                </c:pt>
                <c:pt idx="2924">
                  <c:v>39961</c:v>
                </c:pt>
                <c:pt idx="2925">
                  <c:v>39962</c:v>
                </c:pt>
                <c:pt idx="2926">
                  <c:v>39965</c:v>
                </c:pt>
                <c:pt idx="2927">
                  <c:v>39966</c:v>
                </c:pt>
                <c:pt idx="2928">
                  <c:v>39967</c:v>
                </c:pt>
                <c:pt idx="2929">
                  <c:v>39968</c:v>
                </c:pt>
                <c:pt idx="2930">
                  <c:v>39969</c:v>
                </c:pt>
                <c:pt idx="2931">
                  <c:v>39972</c:v>
                </c:pt>
                <c:pt idx="2932">
                  <c:v>39973</c:v>
                </c:pt>
                <c:pt idx="2933">
                  <c:v>39974</c:v>
                </c:pt>
                <c:pt idx="2934">
                  <c:v>39975</c:v>
                </c:pt>
                <c:pt idx="2935">
                  <c:v>39976</c:v>
                </c:pt>
                <c:pt idx="2936">
                  <c:v>39979</c:v>
                </c:pt>
                <c:pt idx="2937">
                  <c:v>39980</c:v>
                </c:pt>
                <c:pt idx="2938">
                  <c:v>39981</c:v>
                </c:pt>
                <c:pt idx="2939">
                  <c:v>39982</c:v>
                </c:pt>
                <c:pt idx="2940">
                  <c:v>39983</c:v>
                </c:pt>
                <c:pt idx="2941">
                  <c:v>39986</c:v>
                </c:pt>
                <c:pt idx="2942">
                  <c:v>39987</c:v>
                </c:pt>
                <c:pt idx="2943">
                  <c:v>39988</c:v>
                </c:pt>
                <c:pt idx="2944">
                  <c:v>39989</c:v>
                </c:pt>
                <c:pt idx="2945">
                  <c:v>39990</c:v>
                </c:pt>
                <c:pt idx="2946">
                  <c:v>39993</c:v>
                </c:pt>
                <c:pt idx="2947">
                  <c:v>39994</c:v>
                </c:pt>
                <c:pt idx="2948">
                  <c:v>39995</c:v>
                </c:pt>
                <c:pt idx="2949">
                  <c:v>39996</c:v>
                </c:pt>
                <c:pt idx="2950">
                  <c:v>40000</c:v>
                </c:pt>
                <c:pt idx="2951">
                  <c:v>40001</c:v>
                </c:pt>
                <c:pt idx="2952">
                  <c:v>40002</c:v>
                </c:pt>
                <c:pt idx="2953">
                  <c:v>40003</c:v>
                </c:pt>
                <c:pt idx="2954">
                  <c:v>40004</c:v>
                </c:pt>
                <c:pt idx="2955">
                  <c:v>40007</c:v>
                </c:pt>
                <c:pt idx="2956">
                  <c:v>40008</c:v>
                </c:pt>
                <c:pt idx="2957">
                  <c:v>40009</c:v>
                </c:pt>
                <c:pt idx="2958">
                  <c:v>40010</c:v>
                </c:pt>
                <c:pt idx="2959">
                  <c:v>40011</c:v>
                </c:pt>
                <c:pt idx="2960">
                  <c:v>40014</c:v>
                </c:pt>
                <c:pt idx="2961">
                  <c:v>40015</c:v>
                </c:pt>
                <c:pt idx="2962">
                  <c:v>40016</c:v>
                </c:pt>
                <c:pt idx="2963">
                  <c:v>40017</c:v>
                </c:pt>
                <c:pt idx="2964">
                  <c:v>40018</c:v>
                </c:pt>
                <c:pt idx="2965">
                  <c:v>40021</c:v>
                </c:pt>
                <c:pt idx="2966">
                  <c:v>40022</c:v>
                </c:pt>
                <c:pt idx="2967">
                  <c:v>40023</c:v>
                </c:pt>
                <c:pt idx="2968">
                  <c:v>40024</c:v>
                </c:pt>
                <c:pt idx="2969">
                  <c:v>40025</c:v>
                </c:pt>
                <c:pt idx="2970">
                  <c:v>40028</c:v>
                </c:pt>
                <c:pt idx="2971">
                  <c:v>40029</c:v>
                </c:pt>
                <c:pt idx="2972">
                  <c:v>40030</c:v>
                </c:pt>
                <c:pt idx="2973">
                  <c:v>40031</c:v>
                </c:pt>
                <c:pt idx="2974">
                  <c:v>40032</c:v>
                </c:pt>
                <c:pt idx="2975">
                  <c:v>40035</c:v>
                </c:pt>
                <c:pt idx="2976">
                  <c:v>40036</c:v>
                </c:pt>
                <c:pt idx="2977">
                  <c:v>40037</c:v>
                </c:pt>
                <c:pt idx="2978">
                  <c:v>40038</c:v>
                </c:pt>
                <c:pt idx="2979">
                  <c:v>40039</c:v>
                </c:pt>
                <c:pt idx="2980">
                  <c:v>40042</c:v>
                </c:pt>
                <c:pt idx="2981">
                  <c:v>40043</c:v>
                </c:pt>
                <c:pt idx="2982">
                  <c:v>40044</c:v>
                </c:pt>
                <c:pt idx="2983">
                  <c:v>40045</c:v>
                </c:pt>
                <c:pt idx="2984">
                  <c:v>40046</c:v>
                </c:pt>
                <c:pt idx="2985">
                  <c:v>40049</c:v>
                </c:pt>
                <c:pt idx="2986">
                  <c:v>40050</c:v>
                </c:pt>
                <c:pt idx="2987">
                  <c:v>40051</c:v>
                </c:pt>
                <c:pt idx="2988">
                  <c:v>40052</c:v>
                </c:pt>
                <c:pt idx="2989">
                  <c:v>40053</c:v>
                </c:pt>
                <c:pt idx="2990">
                  <c:v>40056</c:v>
                </c:pt>
                <c:pt idx="2991">
                  <c:v>40057</c:v>
                </c:pt>
                <c:pt idx="2992">
                  <c:v>40058</c:v>
                </c:pt>
                <c:pt idx="2993">
                  <c:v>40059</c:v>
                </c:pt>
                <c:pt idx="2994">
                  <c:v>40060</c:v>
                </c:pt>
                <c:pt idx="2995">
                  <c:v>40064</c:v>
                </c:pt>
                <c:pt idx="2996">
                  <c:v>40065</c:v>
                </c:pt>
                <c:pt idx="2997">
                  <c:v>40066</c:v>
                </c:pt>
                <c:pt idx="2998">
                  <c:v>40067</c:v>
                </c:pt>
                <c:pt idx="2999">
                  <c:v>40070</c:v>
                </c:pt>
                <c:pt idx="3000">
                  <c:v>40071</c:v>
                </c:pt>
                <c:pt idx="3001">
                  <c:v>40072</c:v>
                </c:pt>
                <c:pt idx="3002">
                  <c:v>40073</c:v>
                </c:pt>
                <c:pt idx="3003">
                  <c:v>40074</c:v>
                </c:pt>
                <c:pt idx="3004">
                  <c:v>40077</c:v>
                </c:pt>
                <c:pt idx="3005">
                  <c:v>40078</c:v>
                </c:pt>
                <c:pt idx="3006">
                  <c:v>40079</c:v>
                </c:pt>
                <c:pt idx="3007">
                  <c:v>40080</c:v>
                </c:pt>
                <c:pt idx="3008">
                  <c:v>40081</c:v>
                </c:pt>
                <c:pt idx="3009">
                  <c:v>40084</c:v>
                </c:pt>
                <c:pt idx="3010">
                  <c:v>40085</c:v>
                </c:pt>
                <c:pt idx="3011">
                  <c:v>40086</c:v>
                </c:pt>
                <c:pt idx="3012">
                  <c:v>40087</c:v>
                </c:pt>
                <c:pt idx="3013">
                  <c:v>40088</c:v>
                </c:pt>
                <c:pt idx="3014">
                  <c:v>40091</c:v>
                </c:pt>
                <c:pt idx="3015">
                  <c:v>40092</c:v>
                </c:pt>
                <c:pt idx="3016">
                  <c:v>40093</c:v>
                </c:pt>
                <c:pt idx="3017">
                  <c:v>40094</c:v>
                </c:pt>
                <c:pt idx="3018">
                  <c:v>40095</c:v>
                </c:pt>
                <c:pt idx="3019">
                  <c:v>40098</c:v>
                </c:pt>
                <c:pt idx="3020">
                  <c:v>40099</c:v>
                </c:pt>
                <c:pt idx="3021">
                  <c:v>40100</c:v>
                </c:pt>
                <c:pt idx="3022">
                  <c:v>40101</c:v>
                </c:pt>
                <c:pt idx="3023">
                  <c:v>40102</c:v>
                </c:pt>
                <c:pt idx="3024">
                  <c:v>40105</c:v>
                </c:pt>
                <c:pt idx="3025">
                  <c:v>40106</c:v>
                </c:pt>
                <c:pt idx="3026">
                  <c:v>40107</c:v>
                </c:pt>
                <c:pt idx="3027">
                  <c:v>40108</c:v>
                </c:pt>
                <c:pt idx="3028">
                  <c:v>40109</c:v>
                </c:pt>
                <c:pt idx="3029">
                  <c:v>40112</c:v>
                </c:pt>
                <c:pt idx="3030">
                  <c:v>40113</c:v>
                </c:pt>
                <c:pt idx="3031">
                  <c:v>40114</c:v>
                </c:pt>
                <c:pt idx="3032">
                  <c:v>40115</c:v>
                </c:pt>
                <c:pt idx="3033">
                  <c:v>40116</c:v>
                </c:pt>
                <c:pt idx="3034">
                  <c:v>40119</c:v>
                </c:pt>
                <c:pt idx="3035">
                  <c:v>40120</c:v>
                </c:pt>
                <c:pt idx="3036">
                  <c:v>40121</c:v>
                </c:pt>
                <c:pt idx="3037">
                  <c:v>40122</c:v>
                </c:pt>
                <c:pt idx="3038">
                  <c:v>40123</c:v>
                </c:pt>
                <c:pt idx="3039">
                  <c:v>40126</c:v>
                </c:pt>
                <c:pt idx="3040">
                  <c:v>40127</c:v>
                </c:pt>
                <c:pt idx="3041">
                  <c:v>40128</c:v>
                </c:pt>
                <c:pt idx="3042">
                  <c:v>40129</c:v>
                </c:pt>
                <c:pt idx="3043">
                  <c:v>40130</c:v>
                </c:pt>
                <c:pt idx="3044">
                  <c:v>40133</c:v>
                </c:pt>
                <c:pt idx="3045">
                  <c:v>40134</c:v>
                </c:pt>
                <c:pt idx="3046">
                  <c:v>40135</c:v>
                </c:pt>
                <c:pt idx="3047">
                  <c:v>40136</c:v>
                </c:pt>
                <c:pt idx="3048">
                  <c:v>40137</c:v>
                </c:pt>
                <c:pt idx="3049">
                  <c:v>40140</c:v>
                </c:pt>
                <c:pt idx="3050">
                  <c:v>40141</c:v>
                </c:pt>
                <c:pt idx="3051">
                  <c:v>40142</c:v>
                </c:pt>
                <c:pt idx="3052">
                  <c:v>40144</c:v>
                </c:pt>
                <c:pt idx="3053">
                  <c:v>40147</c:v>
                </c:pt>
                <c:pt idx="3054">
                  <c:v>40148</c:v>
                </c:pt>
                <c:pt idx="3055">
                  <c:v>40149</c:v>
                </c:pt>
                <c:pt idx="3056">
                  <c:v>40150</c:v>
                </c:pt>
                <c:pt idx="3057">
                  <c:v>40151</c:v>
                </c:pt>
                <c:pt idx="3058">
                  <c:v>40154</c:v>
                </c:pt>
                <c:pt idx="3059">
                  <c:v>40155</c:v>
                </c:pt>
                <c:pt idx="3060">
                  <c:v>40156</c:v>
                </c:pt>
                <c:pt idx="3061">
                  <c:v>40157</c:v>
                </c:pt>
                <c:pt idx="3062">
                  <c:v>40158</c:v>
                </c:pt>
                <c:pt idx="3063">
                  <c:v>40161</c:v>
                </c:pt>
                <c:pt idx="3064">
                  <c:v>40162</c:v>
                </c:pt>
                <c:pt idx="3065">
                  <c:v>40163</c:v>
                </c:pt>
                <c:pt idx="3066">
                  <c:v>40164</c:v>
                </c:pt>
                <c:pt idx="3067">
                  <c:v>40165</c:v>
                </c:pt>
                <c:pt idx="3068">
                  <c:v>40168</c:v>
                </c:pt>
                <c:pt idx="3069">
                  <c:v>40169</c:v>
                </c:pt>
                <c:pt idx="3070">
                  <c:v>40170</c:v>
                </c:pt>
                <c:pt idx="3071">
                  <c:v>40171</c:v>
                </c:pt>
                <c:pt idx="3072">
                  <c:v>40175</c:v>
                </c:pt>
                <c:pt idx="3073">
                  <c:v>40176</c:v>
                </c:pt>
                <c:pt idx="3074">
                  <c:v>40177</c:v>
                </c:pt>
                <c:pt idx="3075">
                  <c:v>40178</c:v>
                </c:pt>
                <c:pt idx="3076">
                  <c:v>40182</c:v>
                </c:pt>
                <c:pt idx="3077">
                  <c:v>40183</c:v>
                </c:pt>
                <c:pt idx="3078">
                  <c:v>40184</c:v>
                </c:pt>
                <c:pt idx="3079">
                  <c:v>40185</c:v>
                </c:pt>
                <c:pt idx="3080">
                  <c:v>40186</c:v>
                </c:pt>
                <c:pt idx="3081">
                  <c:v>40189</c:v>
                </c:pt>
                <c:pt idx="3082">
                  <c:v>40190</c:v>
                </c:pt>
                <c:pt idx="3083">
                  <c:v>40191</c:v>
                </c:pt>
                <c:pt idx="3084">
                  <c:v>40192</c:v>
                </c:pt>
                <c:pt idx="3085">
                  <c:v>40193</c:v>
                </c:pt>
                <c:pt idx="3086">
                  <c:v>40197</c:v>
                </c:pt>
                <c:pt idx="3087">
                  <c:v>40198</c:v>
                </c:pt>
                <c:pt idx="3088">
                  <c:v>40199</c:v>
                </c:pt>
                <c:pt idx="3089">
                  <c:v>40200</c:v>
                </c:pt>
                <c:pt idx="3090">
                  <c:v>40203</c:v>
                </c:pt>
                <c:pt idx="3091">
                  <c:v>40204</c:v>
                </c:pt>
                <c:pt idx="3092">
                  <c:v>40205</c:v>
                </c:pt>
                <c:pt idx="3093">
                  <c:v>40206</c:v>
                </c:pt>
                <c:pt idx="3094">
                  <c:v>40207</c:v>
                </c:pt>
                <c:pt idx="3095">
                  <c:v>40210</c:v>
                </c:pt>
                <c:pt idx="3096">
                  <c:v>40211</c:v>
                </c:pt>
                <c:pt idx="3097">
                  <c:v>40212</c:v>
                </c:pt>
                <c:pt idx="3098">
                  <c:v>40213</c:v>
                </c:pt>
                <c:pt idx="3099">
                  <c:v>40214</c:v>
                </c:pt>
                <c:pt idx="3100">
                  <c:v>40217</c:v>
                </c:pt>
                <c:pt idx="3101">
                  <c:v>40218</c:v>
                </c:pt>
                <c:pt idx="3102">
                  <c:v>40219</c:v>
                </c:pt>
                <c:pt idx="3103">
                  <c:v>40220</c:v>
                </c:pt>
                <c:pt idx="3104">
                  <c:v>40221</c:v>
                </c:pt>
                <c:pt idx="3105">
                  <c:v>40225</c:v>
                </c:pt>
                <c:pt idx="3106">
                  <c:v>40226</c:v>
                </c:pt>
                <c:pt idx="3107">
                  <c:v>40227</c:v>
                </c:pt>
                <c:pt idx="3108">
                  <c:v>40228</c:v>
                </c:pt>
                <c:pt idx="3109">
                  <c:v>40231</c:v>
                </c:pt>
                <c:pt idx="3110">
                  <c:v>40232</c:v>
                </c:pt>
                <c:pt idx="3111">
                  <c:v>40233</c:v>
                </c:pt>
                <c:pt idx="3112">
                  <c:v>40234</c:v>
                </c:pt>
                <c:pt idx="3113">
                  <c:v>40235</c:v>
                </c:pt>
                <c:pt idx="3114">
                  <c:v>40238</c:v>
                </c:pt>
                <c:pt idx="3115">
                  <c:v>40239</c:v>
                </c:pt>
                <c:pt idx="3116">
                  <c:v>40240</c:v>
                </c:pt>
                <c:pt idx="3117">
                  <c:v>40241</c:v>
                </c:pt>
                <c:pt idx="3118">
                  <c:v>40242</c:v>
                </c:pt>
                <c:pt idx="3119">
                  <c:v>40245</c:v>
                </c:pt>
                <c:pt idx="3120">
                  <c:v>40246</c:v>
                </c:pt>
                <c:pt idx="3121">
                  <c:v>40247</c:v>
                </c:pt>
                <c:pt idx="3122">
                  <c:v>40248</c:v>
                </c:pt>
                <c:pt idx="3123">
                  <c:v>40249</c:v>
                </c:pt>
                <c:pt idx="3124">
                  <c:v>40252</c:v>
                </c:pt>
                <c:pt idx="3125">
                  <c:v>40253</c:v>
                </c:pt>
                <c:pt idx="3126">
                  <c:v>40254</c:v>
                </c:pt>
                <c:pt idx="3127">
                  <c:v>40255</c:v>
                </c:pt>
                <c:pt idx="3128">
                  <c:v>40256</c:v>
                </c:pt>
                <c:pt idx="3129">
                  <c:v>40259</c:v>
                </c:pt>
                <c:pt idx="3130">
                  <c:v>40260</c:v>
                </c:pt>
                <c:pt idx="3131">
                  <c:v>40261</c:v>
                </c:pt>
                <c:pt idx="3132">
                  <c:v>40262</c:v>
                </c:pt>
                <c:pt idx="3133">
                  <c:v>40263</c:v>
                </c:pt>
                <c:pt idx="3134">
                  <c:v>40266</c:v>
                </c:pt>
                <c:pt idx="3135">
                  <c:v>40267</c:v>
                </c:pt>
                <c:pt idx="3136">
                  <c:v>40268</c:v>
                </c:pt>
                <c:pt idx="3137">
                  <c:v>40269</c:v>
                </c:pt>
                <c:pt idx="3138">
                  <c:v>40273</c:v>
                </c:pt>
                <c:pt idx="3139">
                  <c:v>40274</c:v>
                </c:pt>
                <c:pt idx="3140">
                  <c:v>40275</c:v>
                </c:pt>
                <c:pt idx="3141">
                  <c:v>40276</c:v>
                </c:pt>
                <c:pt idx="3142">
                  <c:v>40277</c:v>
                </c:pt>
                <c:pt idx="3143">
                  <c:v>40280</c:v>
                </c:pt>
                <c:pt idx="3144">
                  <c:v>40281</c:v>
                </c:pt>
                <c:pt idx="3145">
                  <c:v>40282</c:v>
                </c:pt>
                <c:pt idx="3146">
                  <c:v>40283</c:v>
                </c:pt>
                <c:pt idx="3147">
                  <c:v>40284</c:v>
                </c:pt>
                <c:pt idx="3148">
                  <c:v>40287</c:v>
                </c:pt>
                <c:pt idx="3149">
                  <c:v>40288</c:v>
                </c:pt>
                <c:pt idx="3150">
                  <c:v>40289</c:v>
                </c:pt>
                <c:pt idx="3151">
                  <c:v>40290</c:v>
                </c:pt>
                <c:pt idx="3152">
                  <c:v>40291</c:v>
                </c:pt>
                <c:pt idx="3153">
                  <c:v>40294</c:v>
                </c:pt>
                <c:pt idx="3154">
                  <c:v>40295</c:v>
                </c:pt>
                <c:pt idx="3155">
                  <c:v>40296</c:v>
                </c:pt>
                <c:pt idx="3156">
                  <c:v>40297</c:v>
                </c:pt>
                <c:pt idx="3157">
                  <c:v>40298</c:v>
                </c:pt>
                <c:pt idx="3158">
                  <c:v>40301</c:v>
                </c:pt>
                <c:pt idx="3159">
                  <c:v>40302</c:v>
                </c:pt>
                <c:pt idx="3160">
                  <c:v>40303</c:v>
                </c:pt>
                <c:pt idx="3161">
                  <c:v>40304</c:v>
                </c:pt>
                <c:pt idx="3162">
                  <c:v>40305</c:v>
                </c:pt>
                <c:pt idx="3163">
                  <c:v>40308</c:v>
                </c:pt>
                <c:pt idx="3164">
                  <c:v>40309</c:v>
                </c:pt>
                <c:pt idx="3165">
                  <c:v>40310</c:v>
                </c:pt>
                <c:pt idx="3166">
                  <c:v>40311</c:v>
                </c:pt>
                <c:pt idx="3167">
                  <c:v>40312</c:v>
                </c:pt>
                <c:pt idx="3168">
                  <c:v>40315</c:v>
                </c:pt>
                <c:pt idx="3169">
                  <c:v>40316</c:v>
                </c:pt>
                <c:pt idx="3170">
                  <c:v>40317</c:v>
                </c:pt>
                <c:pt idx="3171">
                  <c:v>40318</c:v>
                </c:pt>
                <c:pt idx="3172">
                  <c:v>40319</c:v>
                </c:pt>
                <c:pt idx="3173">
                  <c:v>40322</c:v>
                </c:pt>
                <c:pt idx="3174">
                  <c:v>40323</c:v>
                </c:pt>
                <c:pt idx="3175">
                  <c:v>40324</c:v>
                </c:pt>
                <c:pt idx="3176">
                  <c:v>40325</c:v>
                </c:pt>
                <c:pt idx="3177">
                  <c:v>40326</c:v>
                </c:pt>
                <c:pt idx="3178">
                  <c:v>40330</c:v>
                </c:pt>
                <c:pt idx="3179">
                  <c:v>40331</c:v>
                </c:pt>
                <c:pt idx="3180">
                  <c:v>40332</c:v>
                </c:pt>
                <c:pt idx="3181">
                  <c:v>40333</c:v>
                </c:pt>
                <c:pt idx="3182">
                  <c:v>40336</c:v>
                </c:pt>
                <c:pt idx="3183">
                  <c:v>40337</c:v>
                </c:pt>
                <c:pt idx="3184">
                  <c:v>40338</c:v>
                </c:pt>
                <c:pt idx="3185">
                  <c:v>40339</c:v>
                </c:pt>
                <c:pt idx="3186">
                  <c:v>40340</c:v>
                </c:pt>
                <c:pt idx="3187">
                  <c:v>40343</c:v>
                </c:pt>
                <c:pt idx="3188">
                  <c:v>40344</c:v>
                </c:pt>
                <c:pt idx="3189">
                  <c:v>40345</c:v>
                </c:pt>
                <c:pt idx="3190">
                  <c:v>40346</c:v>
                </c:pt>
                <c:pt idx="3191">
                  <c:v>40347</c:v>
                </c:pt>
                <c:pt idx="3192">
                  <c:v>40350</c:v>
                </c:pt>
                <c:pt idx="3193">
                  <c:v>40351</c:v>
                </c:pt>
                <c:pt idx="3194">
                  <c:v>40352</c:v>
                </c:pt>
                <c:pt idx="3195">
                  <c:v>40353</c:v>
                </c:pt>
                <c:pt idx="3196">
                  <c:v>40354</c:v>
                </c:pt>
                <c:pt idx="3197">
                  <c:v>40357</c:v>
                </c:pt>
                <c:pt idx="3198">
                  <c:v>40358</c:v>
                </c:pt>
                <c:pt idx="3199">
                  <c:v>40359</c:v>
                </c:pt>
                <c:pt idx="3200">
                  <c:v>40360</c:v>
                </c:pt>
                <c:pt idx="3201">
                  <c:v>40361</c:v>
                </c:pt>
                <c:pt idx="3202">
                  <c:v>40365</c:v>
                </c:pt>
                <c:pt idx="3203">
                  <c:v>40366</c:v>
                </c:pt>
                <c:pt idx="3204">
                  <c:v>40367</c:v>
                </c:pt>
                <c:pt idx="3205">
                  <c:v>40368</c:v>
                </c:pt>
                <c:pt idx="3206">
                  <c:v>40371</c:v>
                </c:pt>
                <c:pt idx="3207">
                  <c:v>40372</c:v>
                </c:pt>
                <c:pt idx="3208">
                  <c:v>40373</c:v>
                </c:pt>
                <c:pt idx="3209">
                  <c:v>40374</c:v>
                </c:pt>
                <c:pt idx="3210">
                  <c:v>40375</c:v>
                </c:pt>
                <c:pt idx="3211">
                  <c:v>40378</c:v>
                </c:pt>
                <c:pt idx="3212">
                  <c:v>40379</c:v>
                </c:pt>
                <c:pt idx="3213">
                  <c:v>40380</c:v>
                </c:pt>
                <c:pt idx="3214">
                  <c:v>40381</c:v>
                </c:pt>
                <c:pt idx="3215">
                  <c:v>40382</c:v>
                </c:pt>
                <c:pt idx="3216">
                  <c:v>40385</c:v>
                </c:pt>
                <c:pt idx="3217">
                  <c:v>40386</c:v>
                </c:pt>
                <c:pt idx="3218">
                  <c:v>40387</c:v>
                </c:pt>
                <c:pt idx="3219">
                  <c:v>40388</c:v>
                </c:pt>
                <c:pt idx="3220">
                  <c:v>40389</c:v>
                </c:pt>
                <c:pt idx="3221">
                  <c:v>40392</c:v>
                </c:pt>
                <c:pt idx="3222">
                  <c:v>40393</c:v>
                </c:pt>
                <c:pt idx="3223">
                  <c:v>40394</c:v>
                </c:pt>
                <c:pt idx="3224">
                  <c:v>40395</c:v>
                </c:pt>
                <c:pt idx="3225">
                  <c:v>40396</c:v>
                </c:pt>
                <c:pt idx="3226">
                  <c:v>40399</c:v>
                </c:pt>
                <c:pt idx="3227">
                  <c:v>40400</c:v>
                </c:pt>
                <c:pt idx="3228">
                  <c:v>40401</c:v>
                </c:pt>
                <c:pt idx="3229">
                  <c:v>40402</c:v>
                </c:pt>
                <c:pt idx="3230">
                  <c:v>40403</c:v>
                </c:pt>
                <c:pt idx="3231">
                  <c:v>40406</c:v>
                </c:pt>
                <c:pt idx="3232">
                  <c:v>40407</c:v>
                </c:pt>
                <c:pt idx="3233">
                  <c:v>40408</c:v>
                </c:pt>
                <c:pt idx="3234">
                  <c:v>40409</c:v>
                </c:pt>
                <c:pt idx="3235">
                  <c:v>40410</c:v>
                </c:pt>
                <c:pt idx="3236">
                  <c:v>40413</c:v>
                </c:pt>
                <c:pt idx="3237">
                  <c:v>40414</c:v>
                </c:pt>
                <c:pt idx="3238">
                  <c:v>40415</c:v>
                </c:pt>
                <c:pt idx="3239">
                  <c:v>40416</c:v>
                </c:pt>
                <c:pt idx="3240">
                  <c:v>40417</c:v>
                </c:pt>
                <c:pt idx="3241">
                  <c:v>40420</c:v>
                </c:pt>
                <c:pt idx="3242">
                  <c:v>40421</c:v>
                </c:pt>
                <c:pt idx="3243">
                  <c:v>40422</c:v>
                </c:pt>
                <c:pt idx="3244">
                  <c:v>40423</c:v>
                </c:pt>
                <c:pt idx="3245">
                  <c:v>40424</c:v>
                </c:pt>
                <c:pt idx="3246">
                  <c:v>40428</c:v>
                </c:pt>
                <c:pt idx="3247">
                  <c:v>40429</c:v>
                </c:pt>
                <c:pt idx="3248">
                  <c:v>40430</c:v>
                </c:pt>
                <c:pt idx="3249">
                  <c:v>40431</c:v>
                </c:pt>
                <c:pt idx="3250">
                  <c:v>40434</c:v>
                </c:pt>
                <c:pt idx="3251">
                  <c:v>40435</c:v>
                </c:pt>
                <c:pt idx="3252">
                  <c:v>40436</c:v>
                </c:pt>
                <c:pt idx="3253">
                  <c:v>40437</c:v>
                </c:pt>
                <c:pt idx="3254">
                  <c:v>40438</c:v>
                </c:pt>
                <c:pt idx="3255">
                  <c:v>40441</c:v>
                </c:pt>
                <c:pt idx="3256">
                  <c:v>40442</c:v>
                </c:pt>
                <c:pt idx="3257">
                  <c:v>40443</c:v>
                </c:pt>
                <c:pt idx="3258">
                  <c:v>40444</c:v>
                </c:pt>
                <c:pt idx="3259">
                  <c:v>40445</c:v>
                </c:pt>
                <c:pt idx="3260">
                  <c:v>40448</c:v>
                </c:pt>
                <c:pt idx="3261">
                  <c:v>40449</c:v>
                </c:pt>
                <c:pt idx="3262">
                  <c:v>40450</c:v>
                </c:pt>
                <c:pt idx="3263">
                  <c:v>40451</c:v>
                </c:pt>
                <c:pt idx="3264">
                  <c:v>40452</c:v>
                </c:pt>
                <c:pt idx="3265">
                  <c:v>40455</c:v>
                </c:pt>
                <c:pt idx="3266">
                  <c:v>40456</c:v>
                </c:pt>
                <c:pt idx="3267">
                  <c:v>40457</c:v>
                </c:pt>
                <c:pt idx="3268">
                  <c:v>40458</c:v>
                </c:pt>
                <c:pt idx="3269">
                  <c:v>40459</c:v>
                </c:pt>
                <c:pt idx="3270">
                  <c:v>40462</c:v>
                </c:pt>
                <c:pt idx="3271">
                  <c:v>40463</c:v>
                </c:pt>
                <c:pt idx="3272">
                  <c:v>40464</c:v>
                </c:pt>
                <c:pt idx="3273">
                  <c:v>40465</c:v>
                </c:pt>
                <c:pt idx="3274">
                  <c:v>40466</c:v>
                </c:pt>
                <c:pt idx="3275">
                  <c:v>40469</c:v>
                </c:pt>
                <c:pt idx="3276">
                  <c:v>40470</c:v>
                </c:pt>
                <c:pt idx="3277">
                  <c:v>40471</c:v>
                </c:pt>
                <c:pt idx="3278">
                  <c:v>40472</c:v>
                </c:pt>
                <c:pt idx="3279">
                  <c:v>40473</c:v>
                </c:pt>
                <c:pt idx="3280">
                  <c:v>40476</c:v>
                </c:pt>
                <c:pt idx="3281">
                  <c:v>40477</c:v>
                </c:pt>
                <c:pt idx="3282">
                  <c:v>40478</c:v>
                </c:pt>
                <c:pt idx="3283">
                  <c:v>40479</c:v>
                </c:pt>
                <c:pt idx="3284">
                  <c:v>40480</c:v>
                </c:pt>
                <c:pt idx="3285">
                  <c:v>40483</c:v>
                </c:pt>
                <c:pt idx="3286">
                  <c:v>40484</c:v>
                </c:pt>
                <c:pt idx="3287">
                  <c:v>40485</c:v>
                </c:pt>
                <c:pt idx="3288">
                  <c:v>40486</c:v>
                </c:pt>
                <c:pt idx="3289">
                  <c:v>40487</c:v>
                </c:pt>
                <c:pt idx="3290">
                  <c:v>40490</c:v>
                </c:pt>
                <c:pt idx="3291">
                  <c:v>40491</c:v>
                </c:pt>
                <c:pt idx="3292">
                  <c:v>40492</c:v>
                </c:pt>
                <c:pt idx="3293">
                  <c:v>40493</c:v>
                </c:pt>
                <c:pt idx="3294">
                  <c:v>40494</c:v>
                </c:pt>
                <c:pt idx="3295">
                  <c:v>40497</c:v>
                </c:pt>
                <c:pt idx="3296">
                  <c:v>40498</c:v>
                </c:pt>
                <c:pt idx="3297">
                  <c:v>40499</c:v>
                </c:pt>
                <c:pt idx="3298">
                  <c:v>40500</c:v>
                </c:pt>
                <c:pt idx="3299">
                  <c:v>40501</c:v>
                </c:pt>
                <c:pt idx="3300">
                  <c:v>40504</c:v>
                </c:pt>
                <c:pt idx="3301">
                  <c:v>40505</c:v>
                </c:pt>
                <c:pt idx="3302">
                  <c:v>40506</c:v>
                </c:pt>
                <c:pt idx="3303">
                  <c:v>40508</c:v>
                </c:pt>
                <c:pt idx="3304">
                  <c:v>40511</c:v>
                </c:pt>
                <c:pt idx="3305">
                  <c:v>40512</c:v>
                </c:pt>
                <c:pt idx="3306">
                  <c:v>40513</c:v>
                </c:pt>
                <c:pt idx="3307">
                  <c:v>40514</c:v>
                </c:pt>
                <c:pt idx="3308">
                  <c:v>40515</c:v>
                </c:pt>
                <c:pt idx="3309">
                  <c:v>40518</c:v>
                </c:pt>
                <c:pt idx="3310">
                  <c:v>40519</c:v>
                </c:pt>
                <c:pt idx="3311">
                  <c:v>40520</c:v>
                </c:pt>
                <c:pt idx="3312">
                  <c:v>40521</c:v>
                </c:pt>
                <c:pt idx="3313">
                  <c:v>40522</c:v>
                </c:pt>
                <c:pt idx="3314">
                  <c:v>40525</c:v>
                </c:pt>
                <c:pt idx="3315">
                  <c:v>40526</c:v>
                </c:pt>
                <c:pt idx="3316">
                  <c:v>40527</c:v>
                </c:pt>
                <c:pt idx="3317">
                  <c:v>40528</c:v>
                </c:pt>
                <c:pt idx="3318">
                  <c:v>40529</c:v>
                </c:pt>
                <c:pt idx="3319">
                  <c:v>40532</c:v>
                </c:pt>
                <c:pt idx="3320">
                  <c:v>40533</c:v>
                </c:pt>
                <c:pt idx="3321">
                  <c:v>40534</c:v>
                </c:pt>
                <c:pt idx="3322">
                  <c:v>40535</c:v>
                </c:pt>
                <c:pt idx="3323">
                  <c:v>40539</c:v>
                </c:pt>
                <c:pt idx="3324">
                  <c:v>40540</c:v>
                </c:pt>
                <c:pt idx="3325">
                  <c:v>40541</c:v>
                </c:pt>
                <c:pt idx="3326">
                  <c:v>40542</c:v>
                </c:pt>
                <c:pt idx="3327">
                  <c:v>40543</c:v>
                </c:pt>
                <c:pt idx="3328">
                  <c:v>40546</c:v>
                </c:pt>
                <c:pt idx="3329">
                  <c:v>40547</c:v>
                </c:pt>
                <c:pt idx="3330">
                  <c:v>40548</c:v>
                </c:pt>
                <c:pt idx="3331">
                  <c:v>40549</c:v>
                </c:pt>
                <c:pt idx="3332">
                  <c:v>40550</c:v>
                </c:pt>
                <c:pt idx="3333">
                  <c:v>40553</c:v>
                </c:pt>
                <c:pt idx="3334">
                  <c:v>40554</c:v>
                </c:pt>
                <c:pt idx="3335">
                  <c:v>40555</c:v>
                </c:pt>
                <c:pt idx="3336">
                  <c:v>40556</c:v>
                </c:pt>
                <c:pt idx="3337">
                  <c:v>40557</c:v>
                </c:pt>
                <c:pt idx="3338">
                  <c:v>40561</c:v>
                </c:pt>
                <c:pt idx="3339">
                  <c:v>40562</c:v>
                </c:pt>
                <c:pt idx="3340">
                  <c:v>40563</c:v>
                </c:pt>
                <c:pt idx="3341">
                  <c:v>40564</c:v>
                </c:pt>
                <c:pt idx="3342">
                  <c:v>40567</c:v>
                </c:pt>
                <c:pt idx="3343">
                  <c:v>40568</c:v>
                </c:pt>
                <c:pt idx="3344">
                  <c:v>40569</c:v>
                </c:pt>
                <c:pt idx="3345">
                  <c:v>40570</c:v>
                </c:pt>
                <c:pt idx="3346">
                  <c:v>40571</c:v>
                </c:pt>
                <c:pt idx="3347">
                  <c:v>40574</c:v>
                </c:pt>
                <c:pt idx="3348">
                  <c:v>40575</c:v>
                </c:pt>
                <c:pt idx="3349">
                  <c:v>40576</c:v>
                </c:pt>
                <c:pt idx="3350">
                  <c:v>40577</c:v>
                </c:pt>
                <c:pt idx="3351">
                  <c:v>40578</c:v>
                </c:pt>
                <c:pt idx="3352">
                  <c:v>40581</c:v>
                </c:pt>
                <c:pt idx="3353">
                  <c:v>40582</c:v>
                </c:pt>
                <c:pt idx="3354">
                  <c:v>40583</c:v>
                </c:pt>
                <c:pt idx="3355">
                  <c:v>40584</c:v>
                </c:pt>
                <c:pt idx="3356">
                  <c:v>40585</c:v>
                </c:pt>
                <c:pt idx="3357">
                  <c:v>40588</c:v>
                </c:pt>
                <c:pt idx="3358">
                  <c:v>40589</c:v>
                </c:pt>
                <c:pt idx="3359">
                  <c:v>40590</c:v>
                </c:pt>
                <c:pt idx="3360">
                  <c:v>40591</c:v>
                </c:pt>
                <c:pt idx="3361">
                  <c:v>40592</c:v>
                </c:pt>
                <c:pt idx="3362">
                  <c:v>40596</c:v>
                </c:pt>
                <c:pt idx="3363">
                  <c:v>40597</c:v>
                </c:pt>
                <c:pt idx="3364">
                  <c:v>40598</c:v>
                </c:pt>
                <c:pt idx="3365">
                  <c:v>40599</c:v>
                </c:pt>
                <c:pt idx="3366">
                  <c:v>40602</c:v>
                </c:pt>
                <c:pt idx="3367">
                  <c:v>40603</c:v>
                </c:pt>
                <c:pt idx="3368">
                  <c:v>40604</c:v>
                </c:pt>
                <c:pt idx="3369">
                  <c:v>40605</c:v>
                </c:pt>
                <c:pt idx="3370">
                  <c:v>40606</c:v>
                </c:pt>
                <c:pt idx="3371">
                  <c:v>40609</c:v>
                </c:pt>
                <c:pt idx="3372">
                  <c:v>40610</c:v>
                </c:pt>
                <c:pt idx="3373">
                  <c:v>40611</c:v>
                </c:pt>
                <c:pt idx="3374">
                  <c:v>40612</c:v>
                </c:pt>
                <c:pt idx="3375">
                  <c:v>40613</c:v>
                </c:pt>
                <c:pt idx="3376">
                  <c:v>40616</c:v>
                </c:pt>
                <c:pt idx="3377">
                  <c:v>40617</c:v>
                </c:pt>
                <c:pt idx="3378">
                  <c:v>40618</c:v>
                </c:pt>
                <c:pt idx="3379">
                  <c:v>40619</c:v>
                </c:pt>
                <c:pt idx="3380">
                  <c:v>40620</c:v>
                </c:pt>
                <c:pt idx="3381">
                  <c:v>40623</c:v>
                </c:pt>
                <c:pt idx="3382">
                  <c:v>40624</c:v>
                </c:pt>
                <c:pt idx="3383">
                  <c:v>40625</c:v>
                </c:pt>
                <c:pt idx="3384">
                  <c:v>40626</c:v>
                </c:pt>
                <c:pt idx="3385">
                  <c:v>40627</c:v>
                </c:pt>
                <c:pt idx="3386">
                  <c:v>40630</c:v>
                </c:pt>
                <c:pt idx="3387">
                  <c:v>40631</c:v>
                </c:pt>
                <c:pt idx="3388">
                  <c:v>40632</c:v>
                </c:pt>
                <c:pt idx="3389">
                  <c:v>40633</c:v>
                </c:pt>
                <c:pt idx="3390">
                  <c:v>40634</c:v>
                </c:pt>
                <c:pt idx="3391">
                  <c:v>40637</c:v>
                </c:pt>
                <c:pt idx="3392">
                  <c:v>40638</c:v>
                </c:pt>
                <c:pt idx="3393">
                  <c:v>40639</c:v>
                </c:pt>
                <c:pt idx="3394">
                  <c:v>40640</c:v>
                </c:pt>
                <c:pt idx="3395">
                  <c:v>40641</c:v>
                </c:pt>
                <c:pt idx="3396">
                  <c:v>40644</c:v>
                </c:pt>
                <c:pt idx="3397">
                  <c:v>40645</c:v>
                </c:pt>
                <c:pt idx="3398">
                  <c:v>40646</c:v>
                </c:pt>
                <c:pt idx="3399">
                  <c:v>40647</c:v>
                </c:pt>
                <c:pt idx="3400">
                  <c:v>40648</c:v>
                </c:pt>
                <c:pt idx="3401">
                  <c:v>40651</c:v>
                </c:pt>
                <c:pt idx="3402">
                  <c:v>40652</c:v>
                </c:pt>
                <c:pt idx="3403">
                  <c:v>40653</c:v>
                </c:pt>
                <c:pt idx="3404">
                  <c:v>40654</c:v>
                </c:pt>
                <c:pt idx="3405">
                  <c:v>40658</c:v>
                </c:pt>
                <c:pt idx="3406">
                  <c:v>40659</c:v>
                </c:pt>
                <c:pt idx="3407">
                  <c:v>40660</c:v>
                </c:pt>
                <c:pt idx="3408">
                  <c:v>40661</c:v>
                </c:pt>
                <c:pt idx="3409">
                  <c:v>40662</c:v>
                </c:pt>
                <c:pt idx="3410">
                  <c:v>40665</c:v>
                </c:pt>
                <c:pt idx="3411">
                  <c:v>40666</c:v>
                </c:pt>
                <c:pt idx="3412">
                  <c:v>40667</c:v>
                </c:pt>
                <c:pt idx="3413">
                  <c:v>40668</c:v>
                </c:pt>
                <c:pt idx="3414">
                  <c:v>40669</c:v>
                </c:pt>
                <c:pt idx="3415">
                  <c:v>40672</c:v>
                </c:pt>
                <c:pt idx="3416">
                  <c:v>40673</c:v>
                </c:pt>
                <c:pt idx="3417">
                  <c:v>40674</c:v>
                </c:pt>
                <c:pt idx="3418">
                  <c:v>40675</c:v>
                </c:pt>
                <c:pt idx="3419">
                  <c:v>40676</c:v>
                </c:pt>
                <c:pt idx="3420">
                  <c:v>40679</c:v>
                </c:pt>
                <c:pt idx="3421">
                  <c:v>40680</c:v>
                </c:pt>
                <c:pt idx="3422">
                  <c:v>40681</c:v>
                </c:pt>
                <c:pt idx="3423">
                  <c:v>40682</c:v>
                </c:pt>
                <c:pt idx="3424">
                  <c:v>40683</c:v>
                </c:pt>
                <c:pt idx="3425">
                  <c:v>40686</c:v>
                </c:pt>
                <c:pt idx="3426">
                  <c:v>40687</c:v>
                </c:pt>
                <c:pt idx="3427">
                  <c:v>40688</c:v>
                </c:pt>
                <c:pt idx="3428">
                  <c:v>40689</c:v>
                </c:pt>
                <c:pt idx="3429">
                  <c:v>40690</c:v>
                </c:pt>
                <c:pt idx="3430">
                  <c:v>40694</c:v>
                </c:pt>
                <c:pt idx="3431">
                  <c:v>40695</c:v>
                </c:pt>
                <c:pt idx="3432">
                  <c:v>40696</c:v>
                </c:pt>
                <c:pt idx="3433">
                  <c:v>40697</c:v>
                </c:pt>
                <c:pt idx="3434">
                  <c:v>40700</c:v>
                </c:pt>
                <c:pt idx="3435">
                  <c:v>40701</c:v>
                </c:pt>
                <c:pt idx="3436">
                  <c:v>40702</c:v>
                </c:pt>
                <c:pt idx="3437">
                  <c:v>40703</c:v>
                </c:pt>
                <c:pt idx="3438">
                  <c:v>40704</c:v>
                </c:pt>
                <c:pt idx="3439">
                  <c:v>40707</c:v>
                </c:pt>
                <c:pt idx="3440">
                  <c:v>40708</c:v>
                </c:pt>
                <c:pt idx="3441">
                  <c:v>40709</c:v>
                </c:pt>
                <c:pt idx="3442">
                  <c:v>40710</c:v>
                </c:pt>
                <c:pt idx="3443">
                  <c:v>40711</c:v>
                </c:pt>
                <c:pt idx="3444">
                  <c:v>40714</c:v>
                </c:pt>
                <c:pt idx="3445">
                  <c:v>40715</c:v>
                </c:pt>
                <c:pt idx="3446">
                  <c:v>40716</c:v>
                </c:pt>
                <c:pt idx="3447">
                  <c:v>40717</c:v>
                </c:pt>
                <c:pt idx="3448">
                  <c:v>40718</c:v>
                </c:pt>
                <c:pt idx="3449">
                  <c:v>40721</c:v>
                </c:pt>
                <c:pt idx="3450">
                  <c:v>40722</c:v>
                </c:pt>
                <c:pt idx="3451">
                  <c:v>40723</c:v>
                </c:pt>
                <c:pt idx="3452">
                  <c:v>40724</c:v>
                </c:pt>
                <c:pt idx="3453">
                  <c:v>40725</c:v>
                </c:pt>
                <c:pt idx="3454">
                  <c:v>40729</c:v>
                </c:pt>
                <c:pt idx="3455">
                  <c:v>40730</c:v>
                </c:pt>
                <c:pt idx="3456">
                  <c:v>40731</c:v>
                </c:pt>
                <c:pt idx="3457">
                  <c:v>40732</c:v>
                </c:pt>
                <c:pt idx="3458">
                  <c:v>40735</c:v>
                </c:pt>
                <c:pt idx="3459">
                  <c:v>40736</c:v>
                </c:pt>
                <c:pt idx="3460">
                  <c:v>40737</c:v>
                </c:pt>
                <c:pt idx="3461">
                  <c:v>40738</c:v>
                </c:pt>
                <c:pt idx="3462">
                  <c:v>40739</c:v>
                </c:pt>
                <c:pt idx="3463">
                  <c:v>40742</c:v>
                </c:pt>
                <c:pt idx="3464">
                  <c:v>40743</c:v>
                </c:pt>
                <c:pt idx="3465">
                  <c:v>40744</c:v>
                </c:pt>
                <c:pt idx="3466">
                  <c:v>40745</c:v>
                </c:pt>
                <c:pt idx="3467">
                  <c:v>40746</c:v>
                </c:pt>
                <c:pt idx="3468">
                  <c:v>40749</c:v>
                </c:pt>
                <c:pt idx="3469">
                  <c:v>40750</c:v>
                </c:pt>
                <c:pt idx="3470">
                  <c:v>40751</c:v>
                </c:pt>
                <c:pt idx="3471">
                  <c:v>40752</c:v>
                </c:pt>
                <c:pt idx="3472">
                  <c:v>40753</c:v>
                </c:pt>
                <c:pt idx="3473">
                  <c:v>40756</c:v>
                </c:pt>
                <c:pt idx="3474">
                  <c:v>40757</c:v>
                </c:pt>
                <c:pt idx="3475">
                  <c:v>40758</c:v>
                </c:pt>
                <c:pt idx="3476">
                  <c:v>40759</c:v>
                </c:pt>
                <c:pt idx="3477">
                  <c:v>40760</c:v>
                </c:pt>
                <c:pt idx="3478">
                  <c:v>40763</c:v>
                </c:pt>
                <c:pt idx="3479">
                  <c:v>40764</c:v>
                </c:pt>
                <c:pt idx="3480">
                  <c:v>40765</c:v>
                </c:pt>
                <c:pt idx="3481">
                  <c:v>40766</c:v>
                </c:pt>
                <c:pt idx="3482">
                  <c:v>40767</c:v>
                </c:pt>
                <c:pt idx="3483">
                  <c:v>40770</c:v>
                </c:pt>
                <c:pt idx="3484">
                  <c:v>40771</c:v>
                </c:pt>
                <c:pt idx="3485">
                  <c:v>40772</c:v>
                </c:pt>
                <c:pt idx="3486">
                  <c:v>40773</c:v>
                </c:pt>
                <c:pt idx="3487">
                  <c:v>40774</c:v>
                </c:pt>
                <c:pt idx="3488">
                  <c:v>40777</c:v>
                </c:pt>
                <c:pt idx="3489">
                  <c:v>40778</c:v>
                </c:pt>
                <c:pt idx="3490">
                  <c:v>40779</c:v>
                </c:pt>
                <c:pt idx="3491">
                  <c:v>40780</c:v>
                </c:pt>
                <c:pt idx="3492">
                  <c:v>40781</c:v>
                </c:pt>
                <c:pt idx="3493">
                  <c:v>40784</c:v>
                </c:pt>
                <c:pt idx="3494">
                  <c:v>40785</c:v>
                </c:pt>
                <c:pt idx="3495">
                  <c:v>40786</c:v>
                </c:pt>
                <c:pt idx="3496">
                  <c:v>40787</c:v>
                </c:pt>
                <c:pt idx="3497">
                  <c:v>40788</c:v>
                </c:pt>
                <c:pt idx="3498">
                  <c:v>40792</c:v>
                </c:pt>
                <c:pt idx="3499">
                  <c:v>40793</c:v>
                </c:pt>
                <c:pt idx="3500">
                  <c:v>40794</c:v>
                </c:pt>
                <c:pt idx="3501">
                  <c:v>40795</c:v>
                </c:pt>
                <c:pt idx="3502">
                  <c:v>40798</c:v>
                </c:pt>
                <c:pt idx="3503">
                  <c:v>40799</c:v>
                </c:pt>
                <c:pt idx="3504">
                  <c:v>40800</c:v>
                </c:pt>
                <c:pt idx="3505">
                  <c:v>40801</c:v>
                </c:pt>
                <c:pt idx="3506">
                  <c:v>40802</c:v>
                </c:pt>
                <c:pt idx="3507">
                  <c:v>40805</c:v>
                </c:pt>
                <c:pt idx="3508">
                  <c:v>40806</c:v>
                </c:pt>
                <c:pt idx="3509">
                  <c:v>40807</c:v>
                </c:pt>
                <c:pt idx="3510">
                  <c:v>40808</c:v>
                </c:pt>
                <c:pt idx="3511">
                  <c:v>40809</c:v>
                </c:pt>
                <c:pt idx="3512">
                  <c:v>40812</c:v>
                </c:pt>
                <c:pt idx="3513">
                  <c:v>40813</c:v>
                </c:pt>
                <c:pt idx="3514">
                  <c:v>40814</c:v>
                </c:pt>
                <c:pt idx="3515">
                  <c:v>40815</c:v>
                </c:pt>
                <c:pt idx="3516">
                  <c:v>40816</c:v>
                </c:pt>
                <c:pt idx="3517">
                  <c:v>40819</c:v>
                </c:pt>
                <c:pt idx="3518">
                  <c:v>40820</c:v>
                </c:pt>
                <c:pt idx="3519">
                  <c:v>40821</c:v>
                </c:pt>
                <c:pt idx="3520">
                  <c:v>40822</c:v>
                </c:pt>
                <c:pt idx="3521">
                  <c:v>40823</c:v>
                </c:pt>
                <c:pt idx="3522">
                  <c:v>40826</c:v>
                </c:pt>
                <c:pt idx="3523">
                  <c:v>40827</c:v>
                </c:pt>
                <c:pt idx="3524">
                  <c:v>40828</c:v>
                </c:pt>
                <c:pt idx="3525">
                  <c:v>40829</c:v>
                </c:pt>
                <c:pt idx="3526">
                  <c:v>40830</c:v>
                </c:pt>
                <c:pt idx="3527">
                  <c:v>40833</c:v>
                </c:pt>
                <c:pt idx="3528">
                  <c:v>40834</c:v>
                </c:pt>
                <c:pt idx="3529">
                  <c:v>40835</c:v>
                </c:pt>
                <c:pt idx="3530">
                  <c:v>40836</c:v>
                </c:pt>
                <c:pt idx="3531">
                  <c:v>40837</c:v>
                </c:pt>
                <c:pt idx="3532">
                  <c:v>40840</c:v>
                </c:pt>
                <c:pt idx="3533">
                  <c:v>40841</c:v>
                </c:pt>
                <c:pt idx="3534">
                  <c:v>40842</c:v>
                </c:pt>
                <c:pt idx="3535">
                  <c:v>40843</c:v>
                </c:pt>
                <c:pt idx="3536">
                  <c:v>40844</c:v>
                </c:pt>
                <c:pt idx="3537">
                  <c:v>40847</c:v>
                </c:pt>
                <c:pt idx="3538">
                  <c:v>40848</c:v>
                </c:pt>
                <c:pt idx="3539">
                  <c:v>40849</c:v>
                </c:pt>
                <c:pt idx="3540">
                  <c:v>40850</c:v>
                </c:pt>
                <c:pt idx="3541">
                  <c:v>40851</c:v>
                </c:pt>
                <c:pt idx="3542">
                  <c:v>40854</c:v>
                </c:pt>
                <c:pt idx="3543">
                  <c:v>40855</c:v>
                </c:pt>
                <c:pt idx="3544">
                  <c:v>40856</c:v>
                </c:pt>
                <c:pt idx="3545">
                  <c:v>40857</c:v>
                </c:pt>
                <c:pt idx="3546">
                  <c:v>40858</c:v>
                </c:pt>
                <c:pt idx="3547">
                  <c:v>40861</c:v>
                </c:pt>
                <c:pt idx="3548">
                  <c:v>40862</c:v>
                </c:pt>
                <c:pt idx="3549">
                  <c:v>40863</c:v>
                </c:pt>
                <c:pt idx="3550">
                  <c:v>40864</c:v>
                </c:pt>
                <c:pt idx="3551">
                  <c:v>40865</c:v>
                </c:pt>
                <c:pt idx="3552">
                  <c:v>40868</c:v>
                </c:pt>
                <c:pt idx="3553">
                  <c:v>40869</c:v>
                </c:pt>
                <c:pt idx="3554">
                  <c:v>40870</c:v>
                </c:pt>
                <c:pt idx="3555">
                  <c:v>40872</c:v>
                </c:pt>
                <c:pt idx="3556">
                  <c:v>40875</c:v>
                </c:pt>
                <c:pt idx="3557">
                  <c:v>40876</c:v>
                </c:pt>
                <c:pt idx="3558">
                  <c:v>40877</c:v>
                </c:pt>
                <c:pt idx="3559">
                  <c:v>40878</c:v>
                </c:pt>
                <c:pt idx="3560">
                  <c:v>40879</c:v>
                </c:pt>
                <c:pt idx="3561">
                  <c:v>40882</c:v>
                </c:pt>
                <c:pt idx="3562">
                  <c:v>40883</c:v>
                </c:pt>
                <c:pt idx="3563">
                  <c:v>40884</c:v>
                </c:pt>
                <c:pt idx="3564">
                  <c:v>40885</c:v>
                </c:pt>
                <c:pt idx="3565">
                  <c:v>40886</c:v>
                </c:pt>
                <c:pt idx="3566">
                  <c:v>40889</c:v>
                </c:pt>
                <c:pt idx="3567">
                  <c:v>40890</c:v>
                </c:pt>
                <c:pt idx="3568">
                  <c:v>40891</c:v>
                </c:pt>
                <c:pt idx="3569">
                  <c:v>40892</c:v>
                </c:pt>
                <c:pt idx="3570">
                  <c:v>40893</c:v>
                </c:pt>
                <c:pt idx="3571">
                  <c:v>40896</c:v>
                </c:pt>
                <c:pt idx="3572">
                  <c:v>40897</c:v>
                </c:pt>
                <c:pt idx="3573">
                  <c:v>40898</c:v>
                </c:pt>
                <c:pt idx="3574">
                  <c:v>40899</c:v>
                </c:pt>
                <c:pt idx="3575">
                  <c:v>40900</c:v>
                </c:pt>
                <c:pt idx="3576">
                  <c:v>40904</c:v>
                </c:pt>
                <c:pt idx="3577">
                  <c:v>40905</c:v>
                </c:pt>
                <c:pt idx="3578">
                  <c:v>40906</c:v>
                </c:pt>
                <c:pt idx="3579">
                  <c:v>40907</c:v>
                </c:pt>
                <c:pt idx="3580">
                  <c:v>40911</c:v>
                </c:pt>
                <c:pt idx="3581">
                  <c:v>40912</c:v>
                </c:pt>
                <c:pt idx="3582">
                  <c:v>40913</c:v>
                </c:pt>
                <c:pt idx="3583">
                  <c:v>40914</c:v>
                </c:pt>
                <c:pt idx="3584">
                  <c:v>40917</c:v>
                </c:pt>
                <c:pt idx="3585">
                  <c:v>40918</c:v>
                </c:pt>
                <c:pt idx="3586">
                  <c:v>40919</c:v>
                </c:pt>
                <c:pt idx="3587">
                  <c:v>40920</c:v>
                </c:pt>
                <c:pt idx="3588">
                  <c:v>40921</c:v>
                </c:pt>
                <c:pt idx="3589">
                  <c:v>40925</c:v>
                </c:pt>
                <c:pt idx="3590">
                  <c:v>40926</c:v>
                </c:pt>
                <c:pt idx="3591">
                  <c:v>40927</c:v>
                </c:pt>
                <c:pt idx="3592">
                  <c:v>40928</c:v>
                </c:pt>
                <c:pt idx="3593">
                  <c:v>40931</c:v>
                </c:pt>
                <c:pt idx="3594">
                  <c:v>40932</c:v>
                </c:pt>
                <c:pt idx="3595">
                  <c:v>40933</c:v>
                </c:pt>
                <c:pt idx="3596">
                  <c:v>40934</c:v>
                </c:pt>
                <c:pt idx="3597">
                  <c:v>40935</c:v>
                </c:pt>
                <c:pt idx="3598">
                  <c:v>40938</c:v>
                </c:pt>
                <c:pt idx="3599">
                  <c:v>40939</c:v>
                </c:pt>
                <c:pt idx="3600">
                  <c:v>40940</c:v>
                </c:pt>
                <c:pt idx="3601">
                  <c:v>40941</c:v>
                </c:pt>
                <c:pt idx="3602">
                  <c:v>40942</c:v>
                </c:pt>
                <c:pt idx="3603">
                  <c:v>40945</c:v>
                </c:pt>
                <c:pt idx="3604">
                  <c:v>40946</c:v>
                </c:pt>
                <c:pt idx="3605">
                  <c:v>40947</c:v>
                </c:pt>
                <c:pt idx="3606">
                  <c:v>40948</c:v>
                </c:pt>
                <c:pt idx="3607">
                  <c:v>40949</c:v>
                </c:pt>
                <c:pt idx="3608">
                  <c:v>40952</c:v>
                </c:pt>
                <c:pt idx="3609">
                  <c:v>40953</c:v>
                </c:pt>
                <c:pt idx="3610">
                  <c:v>40954</c:v>
                </c:pt>
                <c:pt idx="3611">
                  <c:v>40955</c:v>
                </c:pt>
                <c:pt idx="3612">
                  <c:v>40956</c:v>
                </c:pt>
                <c:pt idx="3613">
                  <c:v>40960</c:v>
                </c:pt>
                <c:pt idx="3614">
                  <c:v>40961</c:v>
                </c:pt>
                <c:pt idx="3615">
                  <c:v>40962</c:v>
                </c:pt>
                <c:pt idx="3616">
                  <c:v>40963</c:v>
                </c:pt>
                <c:pt idx="3617">
                  <c:v>40966</c:v>
                </c:pt>
                <c:pt idx="3618">
                  <c:v>40967</c:v>
                </c:pt>
                <c:pt idx="3619">
                  <c:v>40968</c:v>
                </c:pt>
                <c:pt idx="3620">
                  <c:v>40969</c:v>
                </c:pt>
                <c:pt idx="3621">
                  <c:v>40970</c:v>
                </c:pt>
                <c:pt idx="3622">
                  <c:v>40973</c:v>
                </c:pt>
                <c:pt idx="3623">
                  <c:v>40974</c:v>
                </c:pt>
                <c:pt idx="3624">
                  <c:v>40975</c:v>
                </c:pt>
                <c:pt idx="3625">
                  <c:v>40976</c:v>
                </c:pt>
                <c:pt idx="3626">
                  <c:v>40977</c:v>
                </c:pt>
                <c:pt idx="3627">
                  <c:v>40980</c:v>
                </c:pt>
                <c:pt idx="3628">
                  <c:v>40981</c:v>
                </c:pt>
                <c:pt idx="3629">
                  <c:v>40982</c:v>
                </c:pt>
                <c:pt idx="3630">
                  <c:v>40983</c:v>
                </c:pt>
                <c:pt idx="3631">
                  <c:v>40984</c:v>
                </c:pt>
                <c:pt idx="3632">
                  <c:v>40987</c:v>
                </c:pt>
                <c:pt idx="3633">
                  <c:v>40988</c:v>
                </c:pt>
                <c:pt idx="3634">
                  <c:v>40989</c:v>
                </c:pt>
                <c:pt idx="3635">
                  <c:v>40990</c:v>
                </c:pt>
                <c:pt idx="3636">
                  <c:v>40991</c:v>
                </c:pt>
                <c:pt idx="3637">
                  <c:v>40994</c:v>
                </c:pt>
                <c:pt idx="3638">
                  <c:v>40995</c:v>
                </c:pt>
                <c:pt idx="3639">
                  <c:v>40996</c:v>
                </c:pt>
                <c:pt idx="3640">
                  <c:v>40997</c:v>
                </c:pt>
                <c:pt idx="3641">
                  <c:v>40998</c:v>
                </c:pt>
                <c:pt idx="3642">
                  <c:v>41001</c:v>
                </c:pt>
                <c:pt idx="3643">
                  <c:v>41002</c:v>
                </c:pt>
                <c:pt idx="3644">
                  <c:v>41003</c:v>
                </c:pt>
                <c:pt idx="3645">
                  <c:v>41004</c:v>
                </c:pt>
                <c:pt idx="3646">
                  <c:v>41008</c:v>
                </c:pt>
                <c:pt idx="3647">
                  <c:v>41009</c:v>
                </c:pt>
                <c:pt idx="3648">
                  <c:v>41010</c:v>
                </c:pt>
                <c:pt idx="3649">
                  <c:v>41011</c:v>
                </c:pt>
                <c:pt idx="3650">
                  <c:v>41012</c:v>
                </c:pt>
                <c:pt idx="3651">
                  <c:v>41015</c:v>
                </c:pt>
                <c:pt idx="3652">
                  <c:v>41016</c:v>
                </c:pt>
                <c:pt idx="3653">
                  <c:v>41017</c:v>
                </c:pt>
                <c:pt idx="3654">
                  <c:v>41018</c:v>
                </c:pt>
                <c:pt idx="3655">
                  <c:v>41019</c:v>
                </c:pt>
                <c:pt idx="3656">
                  <c:v>41022</c:v>
                </c:pt>
                <c:pt idx="3657">
                  <c:v>41023</c:v>
                </c:pt>
                <c:pt idx="3658">
                  <c:v>41024</c:v>
                </c:pt>
                <c:pt idx="3659">
                  <c:v>41025</c:v>
                </c:pt>
                <c:pt idx="3660">
                  <c:v>41026</c:v>
                </c:pt>
                <c:pt idx="3661">
                  <c:v>41029</c:v>
                </c:pt>
                <c:pt idx="3662">
                  <c:v>41030</c:v>
                </c:pt>
                <c:pt idx="3663">
                  <c:v>41031</c:v>
                </c:pt>
                <c:pt idx="3664">
                  <c:v>41032</c:v>
                </c:pt>
                <c:pt idx="3665">
                  <c:v>41033</c:v>
                </c:pt>
                <c:pt idx="3666">
                  <c:v>41036</c:v>
                </c:pt>
                <c:pt idx="3667">
                  <c:v>41037</c:v>
                </c:pt>
                <c:pt idx="3668">
                  <c:v>41038</c:v>
                </c:pt>
                <c:pt idx="3669">
                  <c:v>41039</c:v>
                </c:pt>
                <c:pt idx="3670">
                  <c:v>41040</c:v>
                </c:pt>
                <c:pt idx="3671">
                  <c:v>41043</c:v>
                </c:pt>
                <c:pt idx="3672">
                  <c:v>41044</c:v>
                </c:pt>
                <c:pt idx="3673">
                  <c:v>41045</c:v>
                </c:pt>
                <c:pt idx="3674">
                  <c:v>41046</c:v>
                </c:pt>
                <c:pt idx="3675">
                  <c:v>41047</c:v>
                </c:pt>
                <c:pt idx="3676">
                  <c:v>41050</c:v>
                </c:pt>
                <c:pt idx="3677">
                  <c:v>41051</c:v>
                </c:pt>
                <c:pt idx="3678">
                  <c:v>41052</c:v>
                </c:pt>
                <c:pt idx="3679">
                  <c:v>41053</c:v>
                </c:pt>
                <c:pt idx="3680">
                  <c:v>41054</c:v>
                </c:pt>
                <c:pt idx="3681">
                  <c:v>41058</c:v>
                </c:pt>
                <c:pt idx="3682">
                  <c:v>41059</c:v>
                </c:pt>
                <c:pt idx="3683">
                  <c:v>41060</c:v>
                </c:pt>
                <c:pt idx="3684">
                  <c:v>41061</c:v>
                </c:pt>
                <c:pt idx="3685">
                  <c:v>41064</c:v>
                </c:pt>
                <c:pt idx="3686">
                  <c:v>41065</c:v>
                </c:pt>
                <c:pt idx="3687">
                  <c:v>41066</c:v>
                </c:pt>
                <c:pt idx="3688">
                  <c:v>41067</c:v>
                </c:pt>
                <c:pt idx="3689">
                  <c:v>41068</c:v>
                </c:pt>
                <c:pt idx="3690">
                  <c:v>41071</c:v>
                </c:pt>
                <c:pt idx="3691">
                  <c:v>41072</c:v>
                </c:pt>
                <c:pt idx="3692">
                  <c:v>41073</c:v>
                </c:pt>
                <c:pt idx="3693">
                  <c:v>41074</c:v>
                </c:pt>
                <c:pt idx="3694">
                  <c:v>41075</c:v>
                </c:pt>
                <c:pt idx="3695">
                  <c:v>41078</c:v>
                </c:pt>
                <c:pt idx="3696">
                  <c:v>41079</c:v>
                </c:pt>
                <c:pt idx="3697">
                  <c:v>41080</c:v>
                </c:pt>
                <c:pt idx="3698">
                  <c:v>41081</c:v>
                </c:pt>
                <c:pt idx="3699">
                  <c:v>41082</c:v>
                </c:pt>
                <c:pt idx="3700">
                  <c:v>41085</c:v>
                </c:pt>
                <c:pt idx="3701">
                  <c:v>41086</c:v>
                </c:pt>
                <c:pt idx="3702">
                  <c:v>41087</c:v>
                </c:pt>
                <c:pt idx="3703">
                  <c:v>41088</c:v>
                </c:pt>
                <c:pt idx="3704">
                  <c:v>41089</c:v>
                </c:pt>
                <c:pt idx="3705">
                  <c:v>41092</c:v>
                </c:pt>
                <c:pt idx="3706">
                  <c:v>41093</c:v>
                </c:pt>
                <c:pt idx="3707">
                  <c:v>41095</c:v>
                </c:pt>
                <c:pt idx="3708">
                  <c:v>41096</c:v>
                </c:pt>
                <c:pt idx="3709">
                  <c:v>41099</c:v>
                </c:pt>
                <c:pt idx="3710">
                  <c:v>41100</c:v>
                </c:pt>
                <c:pt idx="3711">
                  <c:v>41101</c:v>
                </c:pt>
                <c:pt idx="3712">
                  <c:v>41102</c:v>
                </c:pt>
                <c:pt idx="3713">
                  <c:v>41103</c:v>
                </c:pt>
                <c:pt idx="3714">
                  <c:v>41106</c:v>
                </c:pt>
                <c:pt idx="3715">
                  <c:v>41107</c:v>
                </c:pt>
                <c:pt idx="3716">
                  <c:v>41108</c:v>
                </c:pt>
                <c:pt idx="3717">
                  <c:v>41109</c:v>
                </c:pt>
                <c:pt idx="3718">
                  <c:v>41110</c:v>
                </c:pt>
                <c:pt idx="3719">
                  <c:v>41113</c:v>
                </c:pt>
                <c:pt idx="3720">
                  <c:v>41114</c:v>
                </c:pt>
                <c:pt idx="3721">
                  <c:v>41115</c:v>
                </c:pt>
                <c:pt idx="3722">
                  <c:v>41116</c:v>
                </c:pt>
                <c:pt idx="3723">
                  <c:v>41117</c:v>
                </c:pt>
                <c:pt idx="3724">
                  <c:v>41120</c:v>
                </c:pt>
                <c:pt idx="3725">
                  <c:v>41121</c:v>
                </c:pt>
                <c:pt idx="3726">
                  <c:v>41122</c:v>
                </c:pt>
                <c:pt idx="3727">
                  <c:v>41123</c:v>
                </c:pt>
                <c:pt idx="3728">
                  <c:v>41124</c:v>
                </c:pt>
                <c:pt idx="3729">
                  <c:v>41127</c:v>
                </c:pt>
                <c:pt idx="3730">
                  <c:v>41128</c:v>
                </c:pt>
                <c:pt idx="3731">
                  <c:v>41129</c:v>
                </c:pt>
                <c:pt idx="3732">
                  <c:v>41130</c:v>
                </c:pt>
                <c:pt idx="3733">
                  <c:v>41131</c:v>
                </c:pt>
                <c:pt idx="3734">
                  <c:v>41134</c:v>
                </c:pt>
                <c:pt idx="3735">
                  <c:v>41135</c:v>
                </c:pt>
                <c:pt idx="3736">
                  <c:v>41136</c:v>
                </c:pt>
                <c:pt idx="3737">
                  <c:v>41137</c:v>
                </c:pt>
                <c:pt idx="3738">
                  <c:v>41138</c:v>
                </c:pt>
                <c:pt idx="3739">
                  <c:v>41141</c:v>
                </c:pt>
                <c:pt idx="3740">
                  <c:v>41142</c:v>
                </c:pt>
                <c:pt idx="3741">
                  <c:v>41143</c:v>
                </c:pt>
                <c:pt idx="3742">
                  <c:v>41144</c:v>
                </c:pt>
                <c:pt idx="3743">
                  <c:v>41145</c:v>
                </c:pt>
                <c:pt idx="3744">
                  <c:v>41148</c:v>
                </c:pt>
                <c:pt idx="3745">
                  <c:v>41149</c:v>
                </c:pt>
                <c:pt idx="3746">
                  <c:v>41150</c:v>
                </c:pt>
                <c:pt idx="3747">
                  <c:v>41151</c:v>
                </c:pt>
                <c:pt idx="3748">
                  <c:v>41152</c:v>
                </c:pt>
                <c:pt idx="3749">
                  <c:v>41156</c:v>
                </c:pt>
                <c:pt idx="3750">
                  <c:v>41157</c:v>
                </c:pt>
                <c:pt idx="3751">
                  <c:v>41158</c:v>
                </c:pt>
                <c:pt idx="3752">
                  <c:v>41159</c:v>
                </c:pt>
                <c:pt idx="3753">
                  <c:v>41162</c:v>
                </c:pt>
                <c:pt idx="3754">
                  <c:v>41163</c:v>
                </c:pt>
                <c:pt idx="3755">
                  <c:v>41164</c:v>
                </c:pt>
                <c:pt idx="3756">
                  <c:v>41165</c:v>
                </c:pt>
                <c:pt idx="3757">
                  <c:v>41166</c:v>
                </c:pt>
                <c:pt idx="3758">
                  <c:v>41169</c:v>
                </c:pt>
                <c:pt idx="3759">
                  <c:v>41170</c:v>
                </c:pt>
                <c:pt idx="3760">
                  <c:v>41171</c:v>
                </c:pt>
                <c:pt idx="3761">
                  <c:v>41172</c:v>
                </c:pt>
                <c:pt idx="3762">
                  <c:v>41173</c:v>
                </c:pt>
                <c:pt idx="3763">
                  <c:v>41176</c:v>
                </c:pt>
                <c:pt idx="3764">
                  <c:v>41177</c:v>
                </c:pt>
                <c:pt idx="3765">
                  <c:v>41178</c:v>
                </c:pt>
                <c:pt idx="3766">
                  <c:v>41179</c:v>
                </c:pt>
                <c:pt idx="3767">
                  <c:v>41180</c:v>
                </c:pt>
                <c:pt idx="3768">
                  <c:v>41183</c:v>
                </c:pt>
                <c:pt idx="3769">
                  <c:v>41184</c:v>
                </c:pt>
                <c:pt idx="3770">
                  <c:v>41185</c:v>
                </c:pt>
                <c:pt idx="3771">
                  <c:v>41186</c:v>
                </c:pt>
                <c:pt idx="3772">
                  <c:v>41187</c:v>
                </c:pt>
                <c:pt idx="3773">
                  <c:v>41190</c:v>
                </c:pt>
                <c:pt idx="3774">
                  <c:v>41191</c:v>
                </c:pt>
                <c:pt idx="3775">
                  <c:v>41192</c:v>
                </c:pt>
                <c:pt idx="3776">
                  <c:v>41193</c:v>
                </c:pt>
                <c:pt idx="3777">
                  <c:v>41194</c:v>
                </c:pt>
                <c:pt idx="3778">
                  <c:v>41197</c:v>
                </c:pt>
                <c:pt idx="3779">
                  <c:v>41198</c:v>
                </c:pt>
                <c:pt idx="3780">
                  <c:v>41199</c:v>
                </c:pt>
                <c:pt idx="3781">
                  <c:v>41200</c:v>
                </c:pt>
                <c:pt idx="3782">
                  <c:v>41201</c:v>
                </c:pt>
                <c:pt idx="3783">
                  <c:v>41204</c:v>
                </c:pt>
                <c:pt idx="3784">
                  <c:v>41205</c:v>
                </c:pt>
                <c:pt idx="3785">
                  <c:v>41206</c:v>
                </c:pt>
                <c:pt idx="3786">
                  <c:v>41207</c:v>
                </c:pt>
                <c:pt idx="3787">
                  <c:v>41208</c:v>
                </c:pt>
                <c:pt idx="3788">
                  <c:v>41211</c:v>
                </c:pt>
                <c:pt idx="3789">
                  <c:v>41212</c:v>
                </c:pt>
                <c:pt idx="3790">
                  <c:v>41213</c:v>
                </c:pt>
                <c:pt idx="3791">
                  <c:v>41214</c:v>
                </c:pt>
                <c:pt idx="3792">
                  <c:v>41215</c:v>
                </c:pt>
                <c:pt idx="3793">
                  <c:v>41218</c:v>
                </c:pt>
                <c:pt idx="3794">
                  <c:v>41219</c:v>
                </c:pt>
                <c:pt idx="3795">
                  <c:v>41220</c:v>
                </c:pt>
                <c:pt idx="3796">
                  <c:v>41221</c:v>
                </c:pt>
                <c:pt idx="3797">
                  <c:v>41222</c:v>
                </c:pt>
                <c:pt idx="3798">
                  <c:v>41225</c:v>
                </c:pt>
                <c:pt idx="3799">
                  <c:v>41226</c:v>
                </c:pt>
                <c:pt idx="3800">
                  <c:v>41227</c:v>
                </c:pt>
                <c:pt idx="3801">
                  <c:v>41228</c:v>
                </c:pt>
                <c:pt idx="3802">
                  <c:v>41229</c:v>
                </c:pt>
                <c:pt idx="3803">
                  <c:v>41232</c:v>
                </c:pt>
                <c:pt idx="3804">
                  <c:v>41233</c:v>
                </c:pt>
                <c:pt idx="3805">
                  <c:v>41234</c:v>
                </c:pt>
                <c:pt idx="3806">
                  <c:v>41236</c:v>
                </c:pt>
                <c:pt idx="3807">
                  <c:v>41239</c:v>
                </c:pt>
                <c:pt idx="3808">
                  <c:v>41240</c:v>
                </c:pt>
                <c:pt idx="3809">
                  <c:v>41241</c:v>
                </c:pt>
                <c:pt idx="3810">
                  <c:v>41242</c:v>
                </c:pt>
                <c:pt idx="3811">
                  <c:v>41243</c:v>
                </c:pt>
                <c:pt idx="3812">
                  <c:v>41246</c:v>
                </c:pt>
                <c:pt idx="3813">
                  <c:v>41247</c:v>
                </c:pt>
                <c:pt idx="3814">
                  <c:v>41248</c:v>
                </c:pt>
                <c:pt idx="3815">
                  <c:v>41249</c:v>
                </c:pt>
                <c:pt idx="3816">
                  <c:v>41250</c:v>
                </c:pt>
                <c:pt idx="3817">
                  <c:v>41253</c:v>
                </c:pt>
                <c:pt idx="3818">
                  <c:v>41254</c:v>
                </c:pt>
                <c:pt idx="3819">
                  <c:v>41255</c:v>
                </c:pt>
                <c:pt idx="3820">
                  <c:v>41256</c:v>
                </c:pt>
                <c:pt idx="3821">
                  <c:v>41257</c:v>
                </c:pt>
                <c:pt idx="3822">
                  <c:v>41260</c:v>
                </c:pt>
                <c:pt idx="3823">
                  <c:v>41261</c:v>
                </c:pt>
                <c:pt idx="3824">
                  <c:v>41262</c:v>
                </c:pt>
                <c:pt idx="3825">
                  <c:v>41263</c:v>
                </c:pt>
                <c:pt idx="3826">
                  <c:v>41264</c:v>
                </c:pt>
                <c:pt idx="3827">
                  <c:v>41267</c:v>
                </c:pt>
                <c:pt idx="3828">
                  <c:v>41269</c:v>
                </c:pt>
                <c:pt idx="3829">
                  <c:v>41270</c:v>
                </c:pt>
                <c:pt idx="3830">
                  <c:v>41271</c:v>
                </c:pt>
                <c:pt idx="3831">
                  <c:v>41274</c:v>
                </c:pt>
                <c:pt idx="3832">
                  <c:v>41276</c:v>
                </c:pt>
                <c:pt idx="3833">
                  <c:v>41277</c:v>
                </c:pt>
                <c:pt idx="3834">
                  <c:v>41278</c:v>
                </c:pt>
                <c:pt idx="3835">
                  <c:v>41281</c:v>
                </c:pt>
                <c:pt idx="3836">
                  <c:v>41282</c:v>
                </c:pt>
                <c:pt idx="3837">
                  <c:v>41283</c:v>
                </c:pt>
                <c:pt idx="3838">
                  <c:v>41284</c:v>
                </c:pt>
                <c:pt idx="3839">
                  <c:v>41285</c:v>
                </c:pt>
                <c:pt idx="3840">
                  <c:v>41288</c:v>
                </c:pt>
                <c:pt idx="3841">
                  <c:v>41289</c:v>
                </c:pt>
                <c:pt idx="3842">
                  <c:v>41290</c:v>
                </c:pt>
                <c:pt idx="3843">
                  <c:v>41291</c:v>
                </c:pt>
                <c:pt idx="3844">
                  <c:v>41292</c:v>
                </c:pt>
                <c:pt idx="3845">
                  <c:v>41296</c:v>
                </c:pt>
                <c:pt idx="3846">
                  <c:v>41297</c:v>
                </c:pt>
                <c:pt idx="3847">
                  <c:v>41298</c:v>
                </c:pt>
                <c:pt idx="3848">
                  <c:v>41299</c:v>
                </c:pt>
                <c:pt idx="3849">
                  <c:v>41302</c:v>
                </c:pt>
                <c:pt idx="3850">
                  <c:v>41303</c:v>
                </c:pt>
                <c:pt idx="3851">
                  <c:v>41304</c:v>
                </c:pt>
                <c:pt idx="3852">
                  <c:v>41305</c:v>
                </c:pt>
                <c:pt idx="3853">
                  <c:v>41306</c:v>
                </c:pt>
                <c:pt idx="3854">
                  <c:v>41309</c:v>
                </c:pt>
                <c:pt idx="3855">
                  <c:v>41310</c:v>
                </c:pt>
                <c:pt idx="3856">
                  <c:v>41311</c:v>
                </c:pt>
                <c:pt idx="3857">
                  <c:v>41312</c:v>
                </c:pt>
                <c:pt idx="3858">
                  <c:v>41313</c:v>
                </c:pt>
                <c:pt idx="3859">
                  <c:v>41316</c:v>
                </c:pt>
                <c:pt idx="3860">
                  <c:v>41317</c:v>
                </c:pt>
                <c:pt idx="3861">
                  <c:v>41318</c:v>
                </c:pt>
                <c:pt idx="3862">
                  <c:v>41319</c:v>
                </c:pt>
                <c:pt idx="3863">
                  <c:v>41320</c:v>
                </c:pt>
                <c:pt idx="3864">
                  <c:v>41324</c:v>
                </c:pt>
                <c:pt idx="3865">
                  <c:v>41325</c:v>
                </c:pt>
                <c:pt idx="3866">
                  <c:v>41326</c:v>
                </c:pt>
                <c:pt idx="3867">
                  <c:v>41327</c:v>
                </c:pt>
                <c:pt idx="3868">
                  <c:v>41330</c:v>
                </c:pt>
                <c:pt idx="3869">
                  <c:v>41331</c:v>
                </c:pt>
                <c:pt idx="3870">
                  <c:v>41332</c:v>
                </c:pt>
                <c:pt idx="3871">
                  <c:v>41333</c:v>
                </c:pt>
                <c:pt idx="3872">
                  <c:v>41334</c:v>
                </c:pt>
                <c:pt idx="3873">
                  <c:v>41337</c:v>
                </c:pt>
                <c:pt idx="3874">
                  <c:v>41338</c:v>
                </c:pt>
                <c:pt idx="3875">
                  <c:v>41339</c:v>
                </c:pt>
                <c:pt idx="3876">
                  <c:v>41340</c:v>
                </c:pt>
                <c:pt idx="3877">
                  <c:v>41341</c:v>
                </c:pt>
                <c:pt idx="3878">
                  <c:v>41344</c:v>
                </c:pt>
                <c:pt idx="3879">
                  <c:v>41345</c:v>
                </c:pt>
                <c:pt idx="3880">
                  <c:v>41346</c:v>
                </c:pt>
                <c:pt idx="3881">
                  <c:v>41347</c:v>
                </c:pt>
                <c:pt idx="3882">
                  <c:v>41348</c:v>
                </c:pt>
                <c:pt idx="3883">
                  <c:v>41351</c:v>
                </c:pt>
                <c:pt idx="3884">
                  <c:v>41352</c:v>
                </c:pt>
                <c:pt idx="3885">
                  <c:v>41353</c:v>
                </c:pt>
                <c:pt idx="3886">
                  <c:v>41354</c:v>
                </c:pt>
                <c:pt idx="3887">
                  <c:v>41355</c:v>
                </c:pt>
                <c:pt idx="3888">
                  <c:v>41358</c:v>
                </c:pt>
                <c:pt idx="3889">
                  <c:v>41359</c:v>
                </c:pt>
                <c:pt idx="3890">
                  <c:v>41360</c:v>
                </c:pt>
                <c:pt idx="3891">
                  <c:v>41361</c:v>
                </c:pt>
                <c:pt idx="3892">
                  <c:v>41365</c:v>
                </c:pt>
                <c:pt idx="3893">
                  <c:v>41366</c:v>
                </c:pt>
                <c:pt idx="3894">
                  <c:v>41367</c:v>
                </c:pt>
                <c:pt idx="3895">
                  <c:v>41368</c:v>
                </c:pt>
                <c:pt idx="3896">
                  <c:v>41369</c:v>
                </c:pt>
                <c:pt idx="3897">
                  <c:v>41372</c:v>
                </c:pt>
                <c:pt idx="3898">
                  <c:v>41373</c:v>
                </c:pt>
                <c:pt idx="3899">
                  <c:v>41374</c:v>
                </c:pt>
                <c:pt idx="3900">
                  <c:v>41375</c:v>
                </c:pt>
                <c:pt idx="3901">
                  <c:v>41376</c:v>
                </c:pt>
                <c:pt idx="3902">
                  <c:v>41379</c:v>
                </c:pt>
                <c:pt idx="3903">
                  <c:v>41380</c:v>
                </c:pt>
                <c:pt idx="3904">
                  <c:v>41381</c:v>
                </c:pt>
                <c:pt idx="3905">
                  <c:v>41382</c:v>
                </c:pt>
                <c:pt idx="3906">
                  <c:v>41383</c:v>
                </c:pt>
                <c:pt idx="3907">
                  <c:v>41386</c:v>
                </c:pt>
                <c:pt idx="3908">
                  <c:v>41387</c:v>
                </c:pt>
                <c:pt idx="3909">
                  <c:v>41388</c:v>
                </c:pt>
                <c:pt idx="3910">
                  <c:v>41389</c:v>
                </c:pt>
                <c:pt idx="3911">
                  <c:v>41390</c:v>
                </c:pt>
                <c:pt idx="3912">
                  <c:v>41393</c:v>
                </c:pt>
                <c:pt idx="3913">
                  <c:v>41394</c:v>
                </c:pt>
                <c:pt idx="3914">
                  <c:v>41395</c:v>
                </c:pt>
                <c:pt idx="3915">
                  <c:v>41396</c:v>
                </c:pt>
                <c:pt idx="3916">
                  <c:v>41397</c:v>
                </c:pt>
                <c:pt idx="3917">
                  <c:v>41400</c:v>
                </c:pt>
                <c:pt idx="3918">
                  <c:v>41401</c:v>
                </c:pt>
                <c:pt idx="3919">
                  <c:v>41402</c:v>
                </c:pt>
                <c:pt idx="3920">
                  <c:v>41403</c:v>
                </c:pt>
                <c:pt idx="3921">
                  <c:v>41404</c:v>
                </c:pt>
                <c:pt idx="3922">
                  <c:v>41407</c:v>
                </c:pt>
                <c:pt idx="3923">
                  <c:v>41408</c:v>
                </c:pt>
                <c:pt idx="3924">
                  <c:v>41409</c:v>
                </c:pt>
                <c:pt idx="3925">
                  <c:v>41410</c:v>
                </c:pt>
                <c:pt idx="3926">
                  <c:v>41411</c:v>
                </c:pt>
                <c:pt idx="3927">
                  <c:v>41414</c:v>
                </c:pt>
                <c:pt idx="3928">
                  <c:v>41415</c:v>
                </c:pt>
                <c:pt idx="3929">
                  <c:v>41416</c:v>
                </c:pt>
                <c:pt idx="3930">
                  <c:v>41417</c:v>
                </c:pt>
                <c:pt idx="3931">
                  <c:v>41418</c:v>
                </c:pt>
                <c:pt idx="3932">
                  <c:v>41422</c:v>
                </c:pt>
                <c:pt idx="3933">
                  <c:v>41423</c:v>
                </c:pt>
                <c:pt idx="3934">
                  <c:v>41424</c:v>
                </c:pt>
                <c:pt idx="3935">
                  <c:v>41425</c:v>
                </c:pt>
                <c:pt idx="3936">
                  <c:v>41428</c:v>
                </c:pt>
                <c:pt idx="3937">
                  <c:v>41429</c:v>
                </c:pt>
                <c:pt idx="3938">
                  <c:v>41430</c:v>
                </c:pt>
                <c:pt idx="3939">
                  <c:v>41431</c:v>
                </c:pt>
                <c:pt idx="3940">
                  <c:v>41432</c:v>
                </c:pt>
                <c:pt idx="3941">
                  <c:v>41435</c:v>
                </c:pt>
                <c:pt idx="3942">
                  <c:v>41436</c:v>
                </c:pt>
                <c:pt idx="3943">
                  <c:v>41437</c:v>
                </c:pt>
                <c:pt idx="3944">
                  <c:v>41438</c:v>
                </c:pt>
                <c:pt idx="3945">
                  <c:v>41439</c:v>
                </c:pt>
                <c:pt idx="3946">
                  <c:v>41442</c:v>
                </c:pt>
                <c:pt idx="3947">
                  <c:v>41443</c:v>
                </c:pt>
                <c:pt idx="3948">
                  <c:v>41444</c:v>
                </c:pt>
                <c:pt idx="3949">
                  <c:v>41445</c:v>
                </c:pt>
                <c:pt idx="3950">
                  <c:v>41446</c:v>
                </c:pt>
                <c:pt idx="3951">
                  <c:v>41449</c:v>
                </c:pt>
                <c:pt idx="3952">
                  <c:v>41450</c:v>
                </c:pt>
                <c:pt idx="3953">
                  <c:v>41451</c:v>
                </c:pt>
                <c:pt idx="3954">
                  <c:v>41452</c:v>
                </c:pt>
                <c:pt idx="3955">
                  <c:v>41453</c:v>
                </c:pt>
                <c:pt idx="3956">
                  <c:v>41456</c:v>
                </c:pt>
                <c:pt idx="3957">
                  <c:v>41457</c:v>
                </c:pt>
                <c:pt idx="3958">
                  <c:v>41458</c:v>
                </c:pt>
                <c:pt idx="3959">
                  <c:v>41460</c:v>
                </c:pt>
                <c:pt idx="3960">
                  <c:v>41463</c:v>
                </c:pt>
                <c:pt idx="3961">
                  <c:v>41464</c:v>
                </c:pt>
                <c:pt idx="3962">
                  <c:v>41465</c:v>
                </c:pt>
                <c:pt idx="3963">
                  <c:v>41466</c:v>
                </c:pt>
                <c:pt idx="3964">
                  <c:v>41467</c:v>
                </c:pt>
                <c:pt idx="3965">
                  <c:v>41470</c:v>
                </c:pt>
                <c:pt idx="3966">
                  <c:v>41471</c:v>
                </c:pt>
                <c:pt idx="3967">
                  <c:v>41472</c:v>
                </c:pt>
                <c:pt idx="3968">
                  <c:v>41473</c:v>
                </c:pt>
                <c:pt idx="3969">
                  <c:v>41474</c:v>
                </c:pt>
                <c:pt idx="3970">
                  <c:v>41477</c:v>
                </c:pt>
                <c:pt idx="3971">
                  <c:v>41478</c:v>
                </c:pt>
                <c:pt idx="3972">
                  <c:v>41479</c:v>
                </c:pt>
                <c:pt idx="3973">
                  <c:v>41480</c:v>
                </c:pt>
                <c:pt idx="3974">
                  <c:v>41481</c:v>
                </c:pt>
                <c:pt idx="3975">
                  <c:v>41484</c:v>
                </c:pt>
                <c:pt idx="3976">
                  <c:v>41485</c:v>
                </c:pt>
                <c:pt idx="3977">
                  <c:v>41486</c:v>
                </c:pt>
                <c:pt idx="3978">
                  <c:v>41487</c:v>
                </c:pt>
                <c:pt idx="3979">
                  <c:v>41488</c:v>
                </c:pt>
                <c:pt idx="3980">
                  <c:v>41491</c:v>
                </c:pt>
                <c:pt idx="3981">
                  <c:v>41492</c:v>
                </c:pt>
                <c:pt idx="3982">
                  <c:v>41493</c:v>
                </c:pt>
                <c:pt idx="3983">
                  <c:v>41494</c:v>
                </c:pt>
                <c:pt idx="3984">
                  <c:v>41495</c:v>
                </c:pt>
                <c:pt idx="3985">
                  <c:v>41498</c:v>
                </c:pt>
                <c:pt idx="3986">
                  <c:v>41499</c:v>
                </c:pt>
                <c:pt idx="3987">
                  <c:v>41500</c:v>
                </c:pt>
                <c:pt idx="3988">
                  <c:v>41501</c:v>
                </c:pt>
                <c:pt idx="3989">
                  <c:v>41502</c:v>
                </c:pt>
                <c:pt idx="3990">
                  <c:v>41505</c:v>
                </c:pt>
                <c:pt idx="3991">
                  <c:v>41506</c:v>
                </c:pt>
                <c:pt idx="3992">
                  <c:v>41507</c:v>
                </c:pt>
                <c:pt idx="3993">
                  <c:v>41508</c:v>
                </c:pt>
                <c:pt idx="3994">
                  <c:v>41509</c:v>
                </c:pt>
                <c:pt idx="3995">
                  <c:v>41512</c:v>
                </c:pt>
                <c:pt idx="3996">
                  <c:v>41513</c:v>
                </c:pt>
                <c:pt idx="3997">
                  <c:v>41514</c:v>
                </c:pt>
                <c:pt idx="3998">
                  <c:v>41515</c:v>
                </c:pt>
                <c:pt idx="3999">
                  <c:v>41516</c:v>
                </c:pt>
                <c:pt idx="4000">
                  <c:v>41520</c:v>
                </c:pt>
                <c:pt idx="4001">
                  <c:v>41521</c:v>
                </c:pt>
                <c:pt idx="4002">
                  <c:v>41522</c:v>
                </c:pt>
                <c:pt idx="4003">
                  <c:v>41523</c:v>
                </c:pt>
                <c:pt idx="4004">
                  <c:v>41526</c:v>
                </c:pt>
                <c:pt idx="4005">
                  <c:v>41527</c:v>
                </c:pt>
                <c:pt idx="4006">
                  <c:v>41528</c:v>
                </c:pt>
                <c:pt idx="4007">
                  <c:v>41529</c:v>
                </c:pt>
                <c:pt idx="4008">
                  <c:v>41530</c:v>
                </c:pt>
                <c:pt idx="4009">
                  <c:v>41533</c:v>
                </c:pt>
                <c:pt idx="4010">
                  <c:v>41534</c:v>
                </c:pt>
                <c:pt idx="4011">
                  <c:v>41535</c:v>
                </c:pt>
                <c:pt idx="4012">
                  <c:v>41536</c:v>
                </c:pt>
                <c:pt idx="4013">
                  <c:v>41537</c:v>
                </c:pt>
                <c:pt idx="4014">
                  <c:v>41540</c:v>
                </c:pt>
                <c:pt idx="4015">
                  <c:v>41541</c:v>
                </c:pt>
                <c:pt idx="4016">
                  <c:v>41542</c:v>
                </c:pt>
                <c:pt idx="4017">
                  <c:v>41543</c:v>
                </c:pt>
                <c:pt idx="4018">
                  <c:v>41544</c:v>
                </c:pt>
                <c:pt idx="4019">
                  <c:v>41547</c:v>
                </c:pt>
                <c:pt idx="4020">
                  <c:v>41548</c:v>
                </c:pt>
                <c:pt idx="4021">
                  <c:v>41549</c:v>
                </c:pt>
                <c:pt idx="4022">
                  <c:v>41550</c:v>
                </c:pt>
                <c:pt idx="4023">
                  <c:v>41551</c:v>
                </c:pt>
                <c:pt idx="4024">
                  <c:v>41554</c:v>
                </c:pt>
                <c:pt idx="4025">
                  <c:v>41555</c:v>
                </c:pt>
                <c:pt idx="4026">
                  <c:v>41556</c:v>
                </c:pt>
                <c:pt idx="4027">
                  <c:v>41557</c:v>
                </c:pt>
                <c:pt idx="4028">
                  <c:v>41558</c:v>
                </c:pt>
                <c:pt idx="4029">
                  <c:v>41561</c:v>
                </c:pt>
                <c:pt idx="4030">
                  <c:v>41562</c:v>
                </c:pt>
                <c:pt idx="4031">
                  <c:v>41563</c:v>
                </c:pt>
                <c:pt idx="4032">
                  <c:v>41564</c:v>
                </c:pt>
                <c:pt idx="4033">
                  <c:v>41565</c:v>
                </c:pt>
                <c:pt idx="4034">
                  <c:v>41568</c:v>
                </c:pt>
                <c:pt idx="4035">
                  <c:v>41569</c:v>
                </c:pt>
                <c:pt idx="4036">
                  <c:v>41570</c:v>
                </c:pt>
                <c:pt idx="4037">
                  <c:v>41571</c:v>
                </c:pt>
                <c:pt idx="4038">
                  <c:v>41572</c:v>
                </c:pt>
                <c:pt idx="4039">
                  <c:v>41575</c:v>
                </c:pt>
                <c:pt idx="4040">
                  <c:v>41576</c:v>
                </c:pt>
                <c:pt idx="4041">
                  <c:v>41577</c:v>
                </c:pt>
                <c:pt idx="4042">
                  <c:v>41578</c:v>
                </c:pt>
                <c:pt idx="4043">
                  <c:v>41579</c:v>
                </c:pt>
                <c:pt idx="4044">
                  <c:v>41582</c:v>
                </c:pt>
                <c:pt idx="4045">
                  <c:v>41583</c:v>
                </c:pt>
                <c:pt idx="4046">
                  <c:v>41584</c:v>
                </c:pt>
                <c:pt idx="4047">
                  <c:v>41585</c:v>
                </c:pt>
                <c:pt idx="4048">
                  <c:v>41586</c:v>
                </c:pt>
                <c:pt idx="4049">
                  <c:v>41589</c:v>
                </c:pt>
                <c:pt idx="4050">
                  <c:v>41590</c:v>
                </c:pt>
                <c:pt idx="4051">
                  <c:v>41591</c:v>
                </c:pt>
                <c:pt idx="4052">
                  <c:v>41592</c:v>
                </c:pt>
                <c:pt idx="4053">
                  <c:v>41593</c:v>
                </c:pt>
                <c:pt idx="4054">
                  <c:v>41596</c:v>
                </c:pt>
                <c:pt idx="4055">
                  <c:v>41597</c:v>
                </c:pt>
                <c:pt idx="4056">
                  <c:v>41598</c:v>
                </c:pt>
                <c:pt idx="4057">
                  <c:v>41599</c:v>
                </c:pt>
                <c:pt idx="4058">
                  <c:v>41600</c:v>
                </c:pt>
                <c:pt idx="4059">
                  <c:v>41603</c:v>
                </c:pt>
                <c:pt idx="4060">
                  <c:v>41604</c:v>
                </c:pt>
                <c:pt idx="4061">
                  <c:v>41605</c:v>
                </c:pt>
                <c:pt idx="4062">
                  <c:v>41607</c:v>
                </c:pt>
                <c:pt idx="4063">
                  <c:v>41610</c:v>
                </c:pt>
                <c:pt idx="4064">
                  <c:v>41611</c:v>
                </c:pt>
                <c:pt idx="4065">
                  <c:v>41612</c:v>
                </c:pt>
                <c:pt idx="4066">
                  <c:v>41613</c:v>
                </c:pt>
                <c:pt idx="4067">
                  <c:v>41614</c:v>
                </c:pt>
                <c:pt idx="4068">
                  <c:v>41617</c:v>
                </c:pt>
                <c:pt idx="4069">
                  <c:v>41618</c:v>
                </c:pt>
                <c:pt idx="4070">
                  <c:v>41619</c:v>
                </c:pt>
                <c:pt idx="4071">
                  <c:v>41620</c:v>
                </c:pt>
                <c:pt idx="4072">
                  <c:v>41621</c:v>
                </c:pt>
                <c:pt idx="4073">
                  <c:v>41624</c:v>
                </c:pt>
                <c:pt idx="4074">
                  <c:v>41625</c:v>
                </c:pt>
                <c:pt idx="4075">
                  <c:v>41626</c:v>
                </c:pt>
                <c:pt idx="4076">
                  <c:v>41627</c:v>
                </c:pt>
                <c:pt idx="4077">
                  <c:v>41628</c:v>
                </c:pt>
                <c:pt idx="4078">
                  <c:v>41631</c:v>
                </c:pt>
                <c:pt idx="4079">
                  <c:v>41632</c:v>
                </c:pt>
                <c:pt idx="4080">
                  <c:v>41634</c:v>
                </c:pt>
                <c:pt idx="4081">
                  <c:v>41635</c:v>
                </c:pt>
                <c:pt idx="4082">
                  <c:v>41638</c:v>
                </c:pt>
                <c:pt idx="4083">
                  <c:v>41639</c:v>
                </c:pt>
                <c:pt idx="4084">
                  <c:v>41641</c:v>
                </c:pt>
                <c:pt idx="4085">
                  <c:v>41642</c:v>
                </c:pt>
                <c:pt idx="4086">
                  <c:v>41645</c:v>
                </c:pt>
                <c:pt idx="4087">
                  <c:v>41646</c:v>
                </c:pt>
                <c:pt idx="4088">
                  <c:v>41647</c:v>
                </c:pt>
                <c:pt idx="4089">
                  <c:v>41648</c:v>
                </c:pt>
                <c:pt idx="4090">
                  <c:v>41649</c:v>
                </c:pt>
                <c:pt idx="4091">
                  <c:v>41652</c:v>
                </c:pt>
                <c:pt idx="4092">
                  <c:v>41653</c:v>
                </c:pt>
                <c:pt idx="4093">
                  <c:v>41654</c:v>
                </c:pt>
                <c:pt idx="4094">
                  <c:v>41655</c:v>
                </c:pt>
                <c:pt idx="4095">
                  <c:v>41656</c:v>
                </c:pt>
                <c:pt idx="4096">
                  <c:v>41659</c:v>
                </c:pt>
                <c:pt idx="4097">
                  <c:v>41660</c:v>
                </c:pt>
                <c:pt idx="4098">
                  <c:v>41661</c:v>
                </c:pt>
                <c:pt idx="4099">
                  <c:v>41662</c:v>
                </c:pt>
                <c:pt idx="4100">
                  <c:v>41663</c:v>
                </c:pt>
                <c:pt idx="4101">
                  <c:v>41666</c:v>
                </c:pt>
                <c:pt idx="4102">
                  <c:v>41667</c:v>
                </c:pt>
                <c:pt idx="4103">
                  <c:v>41668</c:v>
                </c:pt>
                <c:pt idx="4104">
                  <c:v>41669</c:v>
                </c:pt>
                <c:pt idx="4105">
                  <c:v>41670</c:v>
                </c:pt>
                <c:pt idx="4106">
                  <c:v>41673</c:v>
                </c:pt>
                <c:pt idx="4107">
                  <c:v>41674</c:v>
                </c:pt>
                <c:pt idx="4108">
                  <c:v>41675</c:v>
                </c:pt>
                <c:pt idx="4109">
                  <c:v>41676</c:v>
                </c:pt>
                <c:pt idx="4110">
                  <c:v>41677</c:v>
                </c:pt>
                <c:pt idx="4111">
                  <c:v>41680</c:v>
                </c:pt>
                <c:pt idx="4112">
                  <c:v>41681</c:v>
                </c:pt>
                <c:pt idx="4113">
                  <c:v>41682</c:v>
                </c:pt>
                <c:pt idx="4114">
                  <c:v>41683</c:v>
                </c:pt>
                <c:pt idx="4115">
                  <c:v>41684</c:v>
                </c:pt>
                <c:pt idx="4116">
                  <c:v>41688</c:v>
                </c:pt>
                <c:pt idx="4117">
                  <c:v>41689</c:v>
                </c:pt>
                <c:pt idx="4118">
                  <c:v>41690</c:v>
                </c:pt>
                <c:pt idx="4119">
                  <c:v>41691</c:v>
                </c:pt>
                <c:pt idx="4120">
                  <c:v>41694</c:v>
                </c:pt>
                <c:pt idx="4121">
                  <c:v>41695</c:v>
                </c:pt>
                <c:pt idx="4122">
                  <c:v>41696</c:v>
                </c:pt>
                <c:pt idx="4123">
                  <c:v>41697</c:v>
                </c:pt>
                <c:pt idx="4124">
                  <c:v>41698</c:v>
                </c:pt>
                <c:pt idx="4125">
                  <c:v>41701</c:v>
                </c:pt>
                <c:pt idx="4126">
                  <c:v>41702</c:v>
                </c:pt>
                <c:pt idx="4127">
                  <c:v>41703</c:v>
                </c:pt>
                <c:pt idx="4128">
                  <c:v>41704</c:v>
                </c:pt>
                <c:pt idx="4129">
                  <c:v>41705</c:v>
                </c:pt>
                <c:pt idx="4130">
                  <c:v>41708</c:v>
                </c:pt>
                <c:pt idx="4131">
                  <c:v>41709</c:v>
                </c:pt>
                <c:pt idx="4132">
                  <c:v>41710</c:v>
                </c:pt>
                <c:pt idx="4133">
                  <c:v>41711</c:v>
                </c:pt>
                <c:pt idx="4134">
                  <c:v>41712</c:v>
                </c:pt>
                <c:pt idx="4135">
                  <c:v>41715</c:v>
                </c:pt>
                <c:pt idx="4136">
                  <c:v>41716</c:v>
                </c:pt>
                <c:pt idx="4137">
                  <c:v>41717</c:v>
                </c:pt>
                <c:pt idx="4138">
                  <c:v>41718</c:v>
                </c:pt>
                <c:pt idx="4139">
                  <c:v>41719</c:v>
                </c:pt>
                <c:pt idx="4140">
                  <c:v>41722</c:v>
                </c:pt>
                <c:pt idx="4141">
                  <c:v>41723</c:v>
                </c:pt>
                <c:pt idx="4142">
                  <c:v>41724</c:v>
                </c:pt>
                <c:pt idx="4143">
                  <c:v>41725</c:v>
                </c:pt>
                <c:pt idx="4144">
                  <c:v>41726</c:v>
                </c:pt>
                <c:pt idx="4145">
                  <c:v>41729</c:v>
                </c:pt>
                <c:pt idx="4146">
                  <c:v>41730</c:v>
                </c:pt>
                <c:pt idx="4147">
                  <c:v>41731</c:v>
                </c:pt>
                <c:pt idx="4148">
                  <c:v>41732</c:v>
                </c:pt>
                <c:pt idx="4149">
                  <c:v>41733</c:v>
                </c:pt>
                <c:pt idx="4150">
                  <c:v>41736</c:v>
                </c:pt>
                <c:pt idx="4151">
                  <c:v>41737</c:v>
                </c:pt>
                <c:pt idx="4152">
                  <c:v>41738</c:v>
                </c:pt>
                <c:pt idx="4153">
                  <c:v>41739</c:v>
                </c:pt>
                <c:pt idx="4154">
                  <c:v>41740</c:v>
                </c:pt>
                <c:pt idx="4155">
                  <c:v>41743</c:v>
                </c:pt>
                <c:pt idx="4156">
                  <c:v>41744</c:v>
                </c:pt>
                <c:pt idx="4157">
                  <c:v>41745</c:v>
                </c:pt>
                <c:pt idx="4158">
                  <c:v>41746</c:v>
                </c:pt>
                <c:pt idx="4159">
                  <c:v>41750</c:v>
                </c:pt>
                <c:pt idx="4160">
                  <c:v>41751</c:v>
                </c:pt>
                <c:pt idx="4161">
                  <c:v>41752</c:v>
                </c:pt>
                <c:pt idx="4162">
                  <c:v>41753</c:v>
                </c:pt>
                <c:pt idx="4163">
                  <c:v>41754</c:v>
                </c:pt>
                <c:pt idx="4164">
                  <c:v>41757</c:v>
                </c:pt>
                <c:pt idx="4165">
                  <c:v>41758</c:v>
                </c:pt>
                <c:pt idx="4166">
                  <c:v>41759</c:v>
                </c:pt>
                <c:pt idx="4167">
                  <c:v>41760</c:v>
                </c:pt>
                <c:pt idx="4168">
                  <c:v>41761</c:v>
                </c:pt>
                <c:pt idx="4169">
                  <c:v>41764</c:v>
                </c:pt>
                <c:pt idx="4170">
                  <c:v>41765</c:v>
                </c:pt>
                <c:pt idx="4171">
                  <c:v>41766</c:v>
                </c:pt>
                <c:pt idx="4172">
                  <c:v>41767</c:v>
                </c:pt>
                <c:pt idx="4173">
                  <c:v>41768</c:v>
                </c:pt>
                <c:pt idx="4174">
                  <c:v>41771</c:v>
                </c:pt>
                <c:pt idx="4175">
                  <c:v>41772</c:v>
                </c:pt>
                <c:pt idx="4176">
                  <c:v>41773</c:v>
                </c:pt>
                <c:pt idx="4177">
                  <c:v>41774</c:v>
                </c:pt>
                <c:pt idx="4178">
                  <c:v>41775</c:v>
                </c:pt>
                <c:pt idx="4179">
                  <c:v>41778</c:v>
                </c:pt>
                <c:pt idx="4180">
                  <c:v>41779</c:v>
                </c:pt>
                <c:pt idx="4181">
                  <c:v>41780</c:v>
                </c:pt>
                <c:pt idx="4182">
                  <c:v>41781</c:v>
                </c:pt>
                <c:pt idx="4183">
                  <c:v>41782</c:v>
                </c:pt>
                <c:pt idx="4184">
                  <c:v>41785</c:v>
                </c:pt>
                <c:pt idx="4185">
                  <c:v>41786</c:v>
                </c:pt>
                <c:pt idx="4186">
                  <c:v>41787</c:v>
                </c:pt>
                <c:pt idx="4187">
                  <c:v>41788</c:v>
                </c:pt>
                <c:pt idx="4188">
                  <c:v>41789</c:v>
                </c:pt>
                <c:pt idx="4189">
                  <c:v>41792</c:v>
                </c:pt>
                <c:pt idx="4190">
                  <c:v>41793</c:v>
                </c:pt>
                <c:pt idx="4191">
                  <c:v>41794</c:v>
                </c:pt>
                <c:pt idx="4192">
                  <c:v>41795</c:v>
                </c:pt>
                <c:pt idx="4193">
                  <c:v>41796</c:v>
                </c:pt>
                <c:pt idx="4194">
                  <c:v>41799</c:v>
                </c:pt>
                <c:pt idx="4195">
                  <c:v>41800</c:v>
                </c:pt>
                <c:pt idx="4196">
                  <c:v>41801</c:v>
                </c:pt>
                <c:pt idx="4197">
                  <c:v>41802</c:v>
                </c:pt>
                <c:pt idx="4198">
                  <c:v>41803</c:v>
                </c:pt>
                <c:pt idx="4199">
                  <c:v>41806</c:v>
                </c:pt>
                <c:pt idx="4200">
                  <c:v>41807</c:v>
                </c:pt>
                <c:pt idx="4201">
                  <c:v>41808</c:v>
                </c:pt>
                <c:pt idx="4202">
                  <c:v>41809</c:v>
                </c:pt>
                <c:pt idx="4203">
                  <c:v>41810</c:v>
                </c:pt>
                <c:pt idx="4204">
                  <c:v>41813</c:v>
                </c:pt>
                <c:pt idx="4205">
                  <c:v>41814</c:v>
                </c:pt>
                <c:pt idx="4206">
                  <c:v>41815</c:v>
                </c:pt>
                <c:pt idx="4207">
                  <c:v>41816</c:v>
                </c:pt>
                <c:pt idx="4208">
                  <c:v>41817</c:v>
                </c:pt>
                <c:pt idx="4209">
                  <c:v>41820</c:v>
                </c:pt>
                <c:pt idx="4210">
                  <c:v>41821</c:v>
                </c:pt>
                <c:pt idx="4211">
                  <c:v>41822</c:v>
                </c:pt>
                <c:pt idx="4212">
                  <c:v>41823</c:v>
                </c:pt>
                <c:pt idx="4213">
                  <c:v>41827</c:v>
                </c:pt>
                <c:pt idx="4214">
                  <c:v>41828</c:v>
                </c:pt>
                <c:pt idx="4215">
                  <c:v>41829</c:v>
                </c:pt>
                <c:pt idx="4216">
                  <c:v>41830</c:v>
                </c:pt>
                <c:pt idx="4217">
                  <c:v>41831</c:v>
                </c:pt>
                <c:pt idx="4218">
                  <c:v>41834</c:v>
                </c:pt>
                <c:pt idx="4219">
                  <c:v>41835</c:v>
                </c:pt>
                <c:pt idx="4220">
                  <c:v>41836</c:v>
                </c:pt>
                <c:pt idx="4221">
                  <c:v>41837</c:v>
                </c:pt>
                <c:pt idx="4222">
                  <c:v>41838</c:v>
                </c:pt>
                <c:pt idx="4223">
                  <c:v>41841</c:v>
                </c:pt>
                <c:pt idx="4224">
                  <c:v>41842</c:v>
                </c:pt>
                <c:pt idx="4225">
                  <c:v>41843</c:v>
                </c:pt>
                <c:pt idx="4226">
                  <c:v>41844</c:v>
                </c:pt>
                <c:pt idx="4227">
                  <c:v>41845</c:v>
                </c:pt>
                <c:pt idx="4228">
                  <c:v>41848</c:v>
                </c:pt>
                <c:pt idx="4229">
                  <c:v>41849</c:v>
                </c:pt>
                <c:pt idx="4230">
                  <c:v>41850</c:v>
                </c:pt>
                <c:pt idx="4231">
                  <c:v>41851</c:v>
                </c:pt>
                <c:pt idx="4232">
                  <c:v>41852</c:v>
                </c:pt>
                <c:pt idx="4233">
                  <c:v>41855</c:v>
                </c:pt>
                <c:pt idx="4234">
                  <c:v>41856</c:v>
                </c:pt>
                <c:pt idx="4235">
                  <c:v>41857</c:v>
                </c:pt>
                <c:pt idx="4236">
                  <c:v>41858</c:v>
                </c:pt>
                <c:pt idx="4237">
                  <c:v>41859</c:v>
                </c:pt>
                <c:pt idx="4238">
                  <c:v>41862</c:v>
                </c:pt>
                <c:pt idx="4239">
                  <c:v>41863</c:v>
                </c:pt>
                <c:pt idx="4240">
                  <c:v>41864</c:v>
                </c:pt>
                <c:pt idx="4241">
                  <c:v>41865</c:v>
                </c:pt>
                <c:pt idx="4242">
                  <c:v>41866</c:v>
                </c:pt>
                <c:pt idx="4243">
                  <c:v>41869</c:v>
                </c:pt>
                <c:pt idx="4244">
                  <c:v>41870</c:v>
                </c:pt>
                <c:pt idx="4245">
                  <c:v>41871</c:v>
                </c:pt>
                <c:pt idx="4246">
                  <c:v>41872</c:v>
                </c:pt>
                <c:pt idx="4247">
                  <c:v>41873</c:v>
                </c:pt>
                <c:pt idx="4248">
                  <c:v>41876</c:v>
                </c:pt>
                <c:pt idx="4249">
                  <c:v>41877</c:v>
                </c:pt>
                <c:pt idx="4250">
                  <c:v>41878</c:v>
                </c:pt>
                <c:pt idx="4251">
                  <c:v>41879</c:v>
                </c:pt>
                <c:pt idx="4252">
                  <c:v>41880</c:v>
                </c:pt>
                <c:pt idx="4253">
                  <c:v>41884</c:v>
                </c:pt>
                <c:pt idx="4254">
                  <c:v>41885</c:v>
                </c:pt>
                <c:pt idx="4255">
                  <c:v>41886</c:v>
                </c:pt>
                <c:pt idx="4256">
                  <c:v>41887</c:v>
                </c:pt>
                <c:pt idx="4257">
                  <c:v>41890</c:v>
                </c:pt>
                <c:pt idx="4258">
                  <c:v>41891</c:v>
                </c:pt>
                <c:pt idx="4259">
                  <c:v>41892</c:v>
                </c:pt>
                <c:pt idx="4260">
                  <c:v>41893</c:v>
                </c:pt>
                <c:pt idx="4261">
                  <c:v>41894</c:v>
                </c:pt>
                <c:pt idx="4262">
                  <c:v>41897</c:v>
                </c:pt>
                <c:pt idx="4263">
                  <c:v>41898</c:v>
                </c:pt>
                <c:pt idx="4264">
                  <c:v>41899</c:v>
                </c:pt>
                <c:pt idx="4265">
                  <c:v>41900</c:v>
                </c:pt>
                <c:pt idx="4266">
                  <c:v>41901</c:v>
                </c:pt>
                <c:pt idx="4267">
                  <c:v>41904</c:v>
                </c:pt>
                <c:pt idx="4268">
                  <c:v>41905</c:v>
                </c:pt>
                <c:pt idx="4269">
                  <c:v>41906</c:v>
                </c:pt>
                <c:pt idx="4270">
                  <c:v>41907</c:v>
                </c:pt>
                <c:pt idx="4271">
                  <c:v>41908</c:v>
                </c:pt>
                <c:pt idx="4272">
                  <c:v>41911</c:v>
                </c:pt>
                <c:pt idx="4273">
                  <c:v>41912</c:v>
                </c:pt>
                <c:pt idx="4274">
                  <c:v>41913</c:v>
                </c:pt>
                <c:pt idx="4275">
                  <c:v>41914</c:v>
                </c:pt>
                <c:pt idx="4276">
                  <c:v>41915</c:v>
                </c:pt>
                <c:pt idx="4277">
                  <c:v>41918</c:v>
                </c:pt>
                <c:pt idx="4278">
                  <c:v>41919</c:v>
                </c:pt>
                <c:pt idx="4279">
                  <c:v>41920</c:v>
                </c:pt>
                <c:pt idx="4280">
                  <c:v>41921</c:v>
                </c:pt>
                <c:pt idx="4281">
                  <c:v>41922</c:v>
                </c:pt>
                <c:pt idx="4282">
                  <c:v>41925</c:v>
                </c:pt>
                <c:pt idx="4283">
                  <c:v>41926</c:v>
                </c:pt>
                <c:pt idx="4284">
                  <c:v>41927</c:v>
                </c:pt>
                <c:pt idx="4285">
                  <c:v>41928</c:v>
                </c:pt>
                <c:pt idx="4286">
                  <c:v>41929</c:v>
                </c:pt>
                <c:pt idx="4287">
                  <c:v>41932</c:v>
                </c:pt>
                <c:pt idx="4288">
                  <c:v>41933</c:v>
                </c:pt>
                <c:pt idx="4289">
                  <c:v>41934</c:v>
                </c:pt>
                <c:pt idx="4290">
                  <c:v>41935</c:v>
                </c:pt>
                <c:pt idx="4291">
                  <c:v>41936</c:v>
                </c:pt>
                <c:pt idx="4292">
                  <c:v>41939</c:v>
                </c:pt>
                <c:pt idx="4293">
                  <c:v>41940</c:v>
                </c:pt>
                <c:pt idx="4294">
                  <c:v>41941</c:v>
                </c:pt>
                <c:pt idx="4295">
                  <c:v>41942</c:v>
                </c:pt>
                <c:pt idx="4296">
                  <c:v>41943</c:v>
                </c:pt>
                <c:pt idx="4297">
                  <c:v>41946</c:v>
                </c:pt>
                <c:pt idx="4298">
                  <c:v>41947</c:v>
                </c:pt>
                <c:pt idx="4299">
                  <c:v>41948</c:v>
                </c:pt>
                <c:pt idx="4300">
                  <c:v>41949</c:v>
                </c:pt>
                <c:pt idx="4301">
                  <c:v>41950</c:v>
                </c:pt>
                <c:pt idx="4302">
                  <c:v>41953</c:v>
                </c:pt>
                <c:pt idx="4303">
                  <c:v>41954</c:v>
                </c:pt>
                <c:pt idx="4304">
                  <c:v>41955</c:v>
                </c:pt>
                <c:pt idx="4305">
                  <c:v>41956</c:v>
                </c:pt>
                <c:pt idx="4306">
                  <c:v>41957</c:v>
                </c:pt>
                <c:pt idx="4307">
                  <c:v>41960</c:v>
                </c:pt>
                <c:pt idx="4308">
                  <c:v>41961</c:v>
                </c:pt>
                <c:pt idx="4309">
                  <c:v>41962</c:v>
                </c:pt>
                <c:pt idx="4310">
                  <c:v>41963</c:v>
                </c:pt>
                <c:pt idx="4311">
                  <c:v>41964</c:v>
                </c:pt>
                <c:pt idx="4312">
                  <c:v>41967</c:v>
                </c:pt>
                <c:pt idx="4313">
                  <c:v>41968</c:v>
                </c:pt>
                <c:pt idx="4314">
                  <c:v>41969</c:v>
                </c:pt>
                <c:pt idx="4315">
                  <c:v>41971</c:v>
                </c:pt>
                <c:pt idx="4316">
                  <c:v>41974</c:v>
                </c:pt>
                <c:pt idx="4317">
                  <c:v>41975</c:v>
                </c:pt>
                <c:pt idx="4318">
                  <c:v>41976</c:v>
                </c:pt>
                <c:pt idx="4319">
                  <c:v>41977</c:v>
                </c:pt>
                <c:pt idx="4320">
                  <c:v>41978</c:v>
                </c:pt>
                <c:pt idx="4321">
                  <c:v>41981</c:v>
                </c:pt>
                <c:pt idx="4322">
                  <c:v>41982</c:v>
                </c:pt>
                <c:pt idx="4323">
                  <c:v>41983</c:v>
                </c:pt>
                <c:pt idx="4324">
                  <c:v>41984</c:v>
                </c:pt>
                <c:pt idx="4325">
                  <c:v>41985</c:v>
                </c:pt>
                <c:pt idx="4326">
                  <c:v>41988</c:v>
                </c:pt>
                <c:pt idx="4327">
                  <c:v>41989</c:v>
                </c:pt>
                <c:pt idx="4328">
                  <c:v>41990</c:v>
                </c:pt>
                <c:pt idx="4329">
                  <c:v>41991</c:v>
                </c:pt>
                <c:pt idx="4330">
                  <c:v>41992</c:v>
                </c:pt>
                <c:pt idx="4331">
                  <c:v>41995</c:v>
                </c:pt>
                <c:pt idx="4332">
                  <c:v>41996</c:v>
                </c:pt>
                <c:pt idx="4333">
                  <c:v>41997</c:v>
                </c:pt>
                <c:pt idx="4334">
                  <c:v>41999</c:v>
                </c:pt>
                <c:pt idx="4335">
                  <c:v>42002</c:v>
                </c:pt>
                <c:pt idx="4336">
                  <c:v>42003</c:v>
                </c:pt>
                <c:pt idx="4337">
                  <c:v>42004</c:v>
                </c:pt>
                <c:pt idx="4338">
                  <c:v>42006</c:v>
                </c:pt>
                <c:pt idx="4339">
                  <c:v>42009</c:v>
                </c:pt>
                <c:pt idx="4340">
                  <c:v>42010</c:v>
                </c:pt>
                <c:pt idx="4341">
                  <c:v>42011</c:v>
                </c:pt>
                <c:pt idx="4342">
                  <c:v>42012</c:v>
                </c:pt>
                <c:pt idx="4343">
                  <c:v>42013</c:v>
                </c:pt>
                <c:pt idx="4344">
                  <c:v>42016</c:v>
                </c:pt>
                <c:pt idx="4345">
                  <c:v>42017</c:v>
                </c:pt>
                <c:pt idx="4346">
                  <c:v>42018</c:v>
                </c:pt>
                <c:pt idx="4347">
                  <c:v>42019</c:v>
                </c:pt>
                <c:pt idx="4348">
                  <c:v>42020</c:v>
                </c:pt>
                <c:pt idx="4349">
                  <c:v>42024</c:v>
                </c:pt>
                <c:pt idx="4350">
                  <c:v>42025</c:v>
                </c:pt>
                <c:pt idx="4351">
                  <c:v>42026</c:v>
                </c:pt>
                <c:pt idx="4352">
                  <c:v>42027</c:v>
                </c:pt>
                <c:pt idx="4353">
                  <c:v>42030</c:v>
                </c:pt>
                <c:pt idx="4354">
                  <c:v>42031</c:v>
                </c:pt>
                <c:pt idx="4355">
                  <c:v>42032</c:v>
                </c:pt>
                <c:pt idx="4356">
                  <c:v>42033</c:v>
                </c:pt>
                <c:pt idx="4357">
                  <c:v>42034</c:v>
                </c:pt>
                <c:pt idx="4358">
                  <c:v>42037</c:v>
                </c:pt>
                <c:pt idx="4359">
                  <c:v>42038</c:v>
                </c:pt>
                <c:pt idx="4360">
                  <c:v>42039</c:v>
                </c:pt>
                <c:pt idx="4361">
                  <c:v>42040</c:v>
                </c:pt>
                <c:pt idx="4362">
                  <c:v>42041</c:v>
                </c:pt>
                <c:pt idx="4363">
                  <c:v>42044</c:v>
                </c:pt>
                <c:pt idx="4364">
                  <c:v>42045</c:v>
                </c:pt>
                <c:pt idx="4365">
                  <c:v>42046</c:v>
                </c:pt>
                <c:pt idx="4366">
                  <c:v>42047</c:v>
                </c:pt>
                <c:pt idx="4367">
                  <c:v>42048</c:v>
                </c:pt>
                <c:pt idx="4368">
                  <c:v>42051</c:v>
                </c:pt>
                <c:pt idx="4369">
                  <c:v>42052</c:v>
                </c:pt>
                <c:pt idx="4370">
                  <c:v>42053</c:v>
                </c:pt>
                <c:pt idx="4371">
                  <c:v>42054</c:v>
                </c:pt>
                <c:pt idx="4372">
                  <c:v>42055</c:v>
                </c:pt>
                <c:pt idx="4373">
                  <c:v>42058</c:v>
                </c:pt>
                <c:pt idx="4374">
                  <c:v>42059</c:v>
                </c:pt>
                <c:pt idx="4375">
                  <c:v>42060</c:v>
                </c:pt>
                <c:pt idx="4376">
                  <c:v>42061</c:v>
                </c:pt>
                <c:pt idx="4377">
                  <c:v>42062</c:v>
                </c:pt>
                <c:pt idx="4378">
                  <c:v>42065</c:v>
                </c:pt>
                <c:pt idx="4379">
                  <c:v>42066</c:v>
                </c:pt>
                <c:pt idx="4380">
                  <c:v>42067</c:v>
                </c:pt>
                <c:pt idx="4381">
                  <c:v>42068</c:v>
                </c:pt>
                <c:pt idx="4382">
                  <c:v>42069</c:v>
                </c:pt>
                <c:pt idx="4383">
                  <c:v>42072</c:v>
                </c:pt>
                <c:pt idx="4384">
                  <c:v>42073</c:v>
                </c:pt>
                <c:pt idx="4385">
                  <c:v>42074</c:v>
                </c:pt>
                <c:pt idx="4386">
                  <c:v>42075</c:v>
                </c:pt>
                <c:pt idx="4387">
                  <c:v>42076</c:v>
                </c:pt>
                <c:pt idx="4388">
                  <c:v>42079</c:v>
                </c:pt>
                <c:pt idx="4389">
                  <c:v>42080</c:v>
                </c:pt>
                <c:pt idx="4390">
                  <c:v>42081</c:v>
                </c:pt>
                <c:pt idx="4391">
                  <c:v>42082</c:v>
                </c:pt>
                <c:pt idx="4392">
                  <c:v>42083</c:v>
                </c:pt>
                <c:pt idx="4393">
                  <c:v>42086</c:v>
                </c:pt>
                <c:pt idx="4394">
                  <c:v>42087</c:v>
                </c:pt>
                <c:pt idx="4395">
                  <c:v>42088</c:v>
                </c:pt>
                <c:pt idx="4396">
                  <c:v>42089</c:v>
                </c:pt>
                <c:pt idx="4397">
                  <c:v>42090</c:v>
                </c:pt>
                <c:pt idx="4398">
                  <c:v>42093</c:v>
                </c:pt>
                <c:pt idx="4399">
                  <c:v>42094</c:v>
                </c:pt>
                <c:pt idx="4400">
                  <c:v>42095</c:v>
                </c:pt>
                <c:pt idx="4401">
                  <c:v>42096</c:v>
                </c:pt>
                <c:pt idx="4402">
                  <c:v>42100</c:v>
                </c:pt>
                <c:pt idx="4403">
                  <c:v>42101</c:v>
                </c:pt>
                <c:pt idx="4404">
                  <c:v>42102</c:v>
                </c:pt>
                <c:pt idx="4405">
                  <c:v>42103</c:v>
                </c:pt>
                <c:pt idx="4406">
                  <c:v>42104</c:v>
                </c:pt>
                <c:pt idx="4407">
                  <c:v>42107</c:v>
                </c:pt>
                <c:pt idx="4408">
                  <c:v>42108</c:v>
                </c:pt>
                <c:pt idx="4409">
                  <c:v>42109</c:v>
                </c:pt>
                <c:pt idx="4410">
                  <c:v>42110</c:v>
                </c:pt>
                <c:pt idx="4411">
                  <c:v>42111</c:v>
                </c:pt>
                <c:pt idx="4412">
                  <c:v>42114</c:v>
                </c:pt>
                <c:pt idx="4413">
                  <c:v>42115</c:v>
                </c:pt>
                <c:pt idx="4414">
                  <c:v>42116</c:v>
                </c:pt>
                <c:pt idx="4415">
                  <c:v>42117</c:v>
                </c:pt>
                <c:pt idx="4416">
                  <c:v>42118</c:v>
                </c:pt>
                <c:pt idx="4417">
                  <c:v>42121</c:v>
                </c:pt>
                <c:pt idx="4418">
                  <c:v>42122</c:v>
                </c:pt>
                <c:pt idx="4419">
                  <c:v>42123</c:v>
                </c:pt>
                <c:pt idx="4420">
                  <c:v>42124</c:v>
                </c:pt>
                <c:pt idx="4421">
                  <c:v>42125</c:v>
                </c:pt>
                <c:pt idx="4422">
                  <c:v>42128</c:v>
                </c:pt>
                <c:pt idx="4423">
                  <c:v>42129</c:v>
                </c:pt>
                <c:pt idx="4424">
                  <c:v>42130</c:v>
                </c:pt>
                <c:pt idx="4425">
                  <c:v>42131</c:v>
                </c:pt>
                <c:pt idx="4426">
                  <c:v>42132</c:v>
                </c:pt>
                <c:pt idx="4427">
                  <c:v>42135</c:v>
                </c:pt>
                <c:pt idx="4428">
                  <c:v>42136</c:v>
                </c:pt>
                <c:pt idx="4429">
                  <c:v>42137</c:v>
                </c:pt>
                <c:pt idx="4430">
                  <c:v>42138</c:v>
                </c:pt>
                <c:pt idx="4431">
                  <c:v>42139</c:v>
                </c:pt>
                <c:pt idx="4432">
                  <c:v>42142</c:v>
                </c:pt>
                <c:pt idx="4433">
                  <c:v>42143</c:v>
                </c:pt>
                <c:pt idx="4434">
                  <c:v>42144</c:v>
                </c:pt>
                <c:pt idx="4435">
                  <c:v>42145</c:v>
                </c:pt>
                <c:pt idx="4436">
                  <c:v>42146</c:v>
                </c:pt>
                <c:pt idx="4437">
                  <c:v>42150</c:v>
                </c:pt>
                <c:pt idx="4438">
                  <c:v>42151</c:v>
                </c:pt>
                <c:pt idx="4439">
                  <c:v>42152</c:v>
                </c:pt>
                <c:pt idx="4440">
                  <c:v>42153</c:v>
                </c:pt>
                <c:pt idx="4441">
                  <c:v>42156</c:v>
                </c:pt>
                <c:pt idx="4442">
                  <c:v>42157</c:v>
                </c:pt>
                <c:pt idx="4443">
                  <c:v>42158</c:v>
                </c:pt>
                <c:pt idx="4444">
                  <c:v>42159</c:v>
                </c:pt>
                <c:pt idx="4445">
                  <c:v>42160</c:v>
                </c:pt>
                <c:pt idx="4446">
                  <c:v>42163</c:v>
                </c:pt>
                <c:pt idx="4447">
                  <c:v>42164</c:v>
                </c:pt>
                <c:pt idx="4448">
                  <c:v>42165</c:v>
                </c:pt>
                <c:pt idx="4449">
                  <c:v>42166</c:v>
                </c:pt>
                <c:pt idx="4450">
                  <c:v>42167</c:v>
                </c:pt>
                <c:pt idx="4451">
                  <c:v>42170</c:v>
                </c:pt>
                <c:pt idx="4452">
                  <c:v>42171</c:v>
                </c:pt>
                <c:pt idx="4453">
                  <c:v>42172</c:v>
                </c:pt>
                <c:pt idx="4454">
                  <c:v>42173</c:v>
                </c:pt>
                <c:pt idx="4455">
                  <c:v>42174</c:v>
                </c:pt>
                <c:pt idx="4456">
                  <c:v>42177</c:v>
                </c:pt>
                <c:pt idx="4457">
                  <c:v>42178</c:v>
                </c:pt>
                <c:pt idx="4458">
                  <c:v>42179</c:v>
                </c:pt>
                <c:pt idx="4459">
                  <c:v>42180</c:v>
                </c:pt>
                <c:pt idx="4460">
                  <c:v>42181</c:v>
                </c:pt>
                <c:pt idx="4461">
                  <c:v>42184</c:v>
                </c:pt>
                <c:pt idx="4462">
                  <c:v>42185</c:v>
                </c:pt>
                <c:pt idx="4463">
                  <c:v>42186</c:v>
                </c:pt>
                <c:pt idx="4464">
                  <c:v>42187</c:v>
                </c:pt>
                <c:pt idx="4465">
                  <c:v>42188</c:v>
                </c:pt>
                <c:pt idx="4466">
                  <c:v>42191</c:v>
                </c:pt>
                <c:pt idx="4467">
                  <c:v>42192</c:v>
                </c:pt>
                <c:pt idx="4468">
                  <c:v>42193</c:v>
                </c:pt>
                <c:pt idx="4469">
                  <c:v>42194</c:v>
                </c:pt>
                <c:pt idx="4470">
                  <c:v>42195</c:v>
                </c:pt>
                <c:pt idx="4471">
                  <c:v>42198</c:v>
                </c:pt>
                <c:pt idx="4472">
                  <c:v>42199</c:v>
                </c:pt>
                <c:pt idx="4473">
                  <c:v>42200</c:v>
                </c:pt>
                <c:pt idx="4474">
                  <c:v>42201</c:v>
                </c:pt>
                <c:pt idx="4475">
                  <c:v>42202</c:v>
                </c:pt>
                <c:pt idx="4476">
                  <c:v>42205</c:v>
                </c:pt>
                <c:pt idx="4477">
                  <c:v>42206</c:v>
                </c:pt>
                <c:pt idx="4478">
                  <c:v>42207</c:v>
                </c:pt>
                <c:pt idx="4479">
                  <c:v>42208</c:v>
                </c:pt>
                <c:pt idx="4480">
                  <c:v>42209</c:v>
                </c:pt>
                <c:pt idx="4481">
                  <c:v>42212</c:v>
                </c:pt>
                <c:pt idx="4482">
                  <c:v>42213</c:v>
                </c:pt>
                <c:pt idx="4483">
                  <c:v>42214</c:v>
                </c:pt>
                <c:pt idx="4484">
                  <c:v>42215</c:v>
                </c:pt>
                <c:pt idx="4485">
                  <c:v>42216</c:v>
                </c:pt>
                <c:pt idx="4486">
                  <c:v>42219</c:v>
                </c:pt>
                <c:pt idx="4487">
                  <c:v>42220</c:v>
                </c:pt>
                <c:pt idx="4488">
                  <c:v>42221</c:v>
                </c:pt>
                <c:pt idx="4489">
                  <c:v>42222</c:v>
                </c:pt>
                <c:pt idx="4490">
                  <c:v>42223</c:v>
                </c:pt>
                <c:pt idx="4491">
                  <c:v>42226</c:v>
                </c:pt>
                <c:pt idx="4492">
                  <c:v>42227</c:v>
                </c:pt>
                <c:pt idx="4493">
                  <c:v>42228</c:v>
                </c:pt>
                <c:pt idx="4494">
                  <c:v>42229</c:v>
                </c:pt>
                <c:pt idx="4495">
                  <c:v>42230</c:v>
                </c:pt>
                <c:pt idx="4496">
                  <c:v>42233</c:v>
                </c:pt>
                <c:pt idx="4497">
                  <c:v>42234</c:v>
                </c:pt>
                <c:pt idx="4498">
                  <c:v>42235</c:v>
                </c:pt>
                <c:pt idx="4499">
                  <c:v>42236</c:v>
                </c:pt>
                <c:pt idx="4500">
                  <c:v>42237</c:v>
                </c:pt>
                <c:pt idx="4501">
                  <c:v>42240</c:v>
                </c:pt>
                <c:pt idx="4502">
                  <c:v>42241</c:v>
                </c:pt>
                <c:pt idx="4503">
                  <c:v>42242</c:v>
                </c:pt>
                <c:pt idx="4504">
                  <c:v>42243</c:v>
                </c:pt>
                <c:pt idx="4505">
                  <c:v>42244</c:v>
                </c:pt>
                <c:pt idx="4506">
                  <c:v>42247</c:v>
                </c:pt>
                <c:pt idx="4507">
                  <c:v>42248</c:v>
                </c:pt>
                <c:pt idx="4508">
                  <c:v>42249</c:v>
                </c:pt>
                <c:pt idx="4509">
                  <c:v>42250</c:v>
                </c:pt>
                <c:pt idx="4510">
                  <c:v>42251</c:v>
                </c:pt>
                <c:pt idx="4511">
                  <c:v>42254</c:v>
                </c:pt>
                <c:pt idx="4512">
                  <c:v>42255</c:v>
                </c:pt>
                <c:pt idx="4513">
                  <c:v>42256</c:v>
                </c:pt>
                <c:pt idx="4514">
                  <c:v>42257</c:v>
                </c:pt>
                <c:pt idx="4515">
                  <c:v>42258</c:v>
                </c:pt>
                <c:pt idx="4516">
                  <c:v>42261</c:v>
                </c:pt>
                <c:pt idx="4517">
                  <c:v>42262</c:v>
                </c:pt>
                <c:pt idx="4518">
                  <c:v>42263</c:v>
                </c:pt>
                <c:pt idx="4519">
                  <c:v>42264</c:v>
                </c:pt>
                <c:pt idx="4520">
                  <c:v>42265</c:v>
                </c:pt>
                <c:pt idx="4521">
                  <c:v>42268</c:v>
                </c:pt>
                <c:pt idx="4522">
                  <c:v>42269</c:v>
                </c:pt>
                <c:pt idx="4523">
                  <c:v>42270</c:v>
                </c:pt>
                <c:pt idx="4524">
                  <c:v>42271</c:v>
                </c:pt>
                <c:pt idx="4525">
                  <c:v>42272</c:v>
                </c:pt>
                <c:pt idx="4526">
                  <c:v>42275</c:v>
                </c:pt>
                <c:pt idx="4527">
                  <c:v>42276</c:v>
                </c:pt>
                <c:pt idx="4528">
                  <c:v>42277</c:v>
                </c:pt>
                <c:pt idx="4529">
                  <c:v>42278</c:v>
                </c:pt>
                <c:pt idx="4530">
                  <c:v>42279</c:v>
                </c:pt>
                <c:pt idx="4531">
                  <c:v>42282</c:v>
                </c:pt>
                <c:pt idx="4532">
                  <c:v>42283</c:v>
                </c:pt>
                <c:pt idx="4533">
                  <c:v>42284</c:v>
                </c:pt>
                <c:pt idx="4534">
                  <c:v>42285</c:v>
                </c:pt>
                <c:pt idx="4535">
                  <c:v>42286</c:v>
                </c:pt>
                <c:pt idx="4536">
                  <c:v>42289</c:v>
                </c:pt>
                <c:pt idx="4537">
                  <c:v>42290</c:v>
                </c:pt>
                <c:pt idx="4538">
                  <c:v>42291</c:v>
                </c:pt>
                <c:pt idx="4539">
                  <c:v>42292</c:v>
                </c:pt>
                <c:pt idx="4540">
                  <c:v>42293</c:v>
                </c:pt>
                <c:pt idx="4541">
                  <c:v>42296</c:v>
                </c:pt>
                <c:pt idx="4542">
                  <c:v>42297</c:v>
                </c:pt>
                <c:pt idx="4543">
                  <c:v>42298</c:v>
                </c:pt>
                <c:pt idx="4544">
                  <c:v>42299</c:v>
                </c:pt>
                <c:pt idx="4545">
                  <c:v>42300</c:v>
                </c:pt>
                <c:pt idx="4546">
                  <c:v>42303</c:v>
                </c:pt>
                <c:pt idx="4547">
                  <c:v>42304</c:v>
                </c:pt>
                <c:pt idx="4548">
                  <c:v>42305</c:v>
                </c:pt>
                <c:pt idx="4549">
                  <c:v>42306</c:v>
                </c:pt>
                <c:pt idx="4550">
                  <c:v>42307</c:v>
                </c:pt>
                <c:pt idx="4551">
                  <c:v>42310</c:v>
                </c:pt>
                <c:pt idx="4552">
                  <c:v>42311</c:v>
                </c:pt>
                <c:pt idx="4553">
                  <c:v>42312</c:v>
                </c:pt>
                <c:pt idx="4554">
                  <c:v>42313</c:v>
                </c:pt>
                <c:pt idx="4555">
                  <c:v>42314</c:v>
                </c:pt>
                <c:pt idx="4556">
                  <c:v>42317</c:v>
                </c:pt>
                <c:pt idx="4557">
                  <c:v>42318</c:v>
                </c:pt>
                <c:pt idx="4558">
                  <c:v>42319</c:v>
                </c:pt>
                <c:pt idx="4559">
                  <c:v>42320</c:v>
                </c:pt>
                <c:pt idx="4560">
                  <c:v>42321</c:v>
                </c:pt>
                <c:pt idx="4561">
                  <c:v>42324</c:v>
                </c:pt>
                <c:pt idx="4562">
                  <c:v>42325</c:v>
                </c:pt>
                <c:pt idx="4563">
                  <c:v>42326</c:v>
                </c:pt>
                <c:pt idx="4564">
                  <c:v>42327</c:v>
                </c:pt>
                <c:pt idx="4565">
                  <c:v>42328</c:v>
                </c:pt>
                <c:pt idx="4566">
                  <c:v>42331</c:v>
                </c:pt>
                <c:pt idx="4567">
                  <c:v>42332</c:v>
                </c:pt>
                <c:pt idx="4568">
                  <c:v>42333</c:v>
                </c:pt>
                <c:pt idx="4569">
                  <c:v>42334</c:v>
                </c:pt>
                <c:pt idx="4570">
                  <c:v>42335</c:v>
                </c:pt>
                <c:pt idx="4571">
                  <c:v>42338</c:v>
                </c:pt>
                <c:pt idx="4572">
                  <c:v>42339</c:v>
                </c:pt>
                <c:pt idx="4573">
                  <c:v>42340</c:v>
                </c:pt>
                <c:pt idx="4574">
                  <c:v>42341</c:v>
                </c:pt>
                <c:pt idx="4575">
                  <c:v>42342</c:v>
                </c:pt>
                <c:pt idx="4576">
                  <c:v>42345</c:v>
                </c:pt>
                <c:pt idx="4577">
                  <c:v>42346</c:v>
                </c:pt>
                <c:pt idx="4578">
                  <c:v>42347</c:v>
                </c:pt>
                <c:pt idx="4579">
                  <c:v>42348</c:v>
                </c:pt>
                <c:pt idx="4580">
                  <c:v>42349</c:v>
                </c:pt>
                <c:pt idx="4581">
                  <c:v>42352</c:v>
                </c:pt>
                <c:pt idx="4582">
                  <c:v>42353</c:v>
                </c:pt>
                <c:pt idx="4583">
                  <c:v>42354</c:v>
                </c:pt>
                <c:pt idx="4584">
                  <c:v>42355</c:v>
                </c:pt>
                <c:pt idx="4585">
                  <c:v>42356</c:v>
                </c:pt>
                <c:pt idx="4586">
                  <c:v>42359</c:v>
                </c:pt>
                <c:pt idx="4587">
                  <c:v>42360</c:v>
                </c:pt>
                <c:pt idx="4588">
                  <c:v>42361</c:v>
                </c:pt>
                <c:pt idx="4589">
                  <c:v>42362</c:v>
                </c:pt>
                <c:pt idx="4590">
                  <c:v>42366</c:v>
                </c:pt>
                <c:pt idx="4591">
                  <c:v>42367</c:v>
                </c:pt>
                <c:pt idx="4592">
                  <c:v>42368</c:v>
                </c:pt>
                <c:pt idx="4593">
                  <c:v>42369</c:v>
                </c:pt>
                <c:pt idx="4594">
                  <c:v>42373</c:v>
                </c:pt>
                <c:pt idx="4595">
                  <c:v>42374</c:v>
                </c:pt>
                <c:pt idx="4596">
                  <c:v>42375</c:v>
                </c:pt>
                <c:pt idx="4597">
                  <c:v>42376</c:v>
                </c:pt>
                <c:pt idx="4598">
                  <c:v>42377</c:v>
                </c:pt>
                <c:pt idx="4599">
                  <c:v>42380</c:v>
                </c:pt>
                <c:pt idx="4600">
                  <c:v>42381</c:v>
                </c:pt>
                <c:pt idx="4601">
                  <c:v>42382</c:v>
                </c:pt>
                <c:pt idx="4602">
                  <c:v>42383</c:v>
                </c:pt>
                <c:pt idx="4603">
                  <c:v>42384</c:v>
                </c:pt>
                <c:pt idx="4604">
                  <c:v>42387</c:v>
                </c:pt>
                <c:pt idx="4605">
                  <c:v>42388</c:v>
                </c:pt>
                <c:pt idx="4606">
                  <c:v>42389</c:v>
                </c:pt>
                <c:pt idx="4607">
                  <c:v>42390</c:v>
                </c:pt>
                <c:pt idx="4608">
                  <c:v>42391</c:v>
                </c:pt>
                <c:pt idx="4609">
                  <c:v>42394</c:v>
                </c:pt>
                <c:pt idx="4610">
                  <c:v>42395</c:v>
                </c:pt>
                <c:pt idx="4611">
                  <c:v>42396</c:v>
                </c:pt>
                <c:pt idx="4612">
                  <c:v>42397</c:v>
                </c:pt>
                <c:pt idx="4613">
                  <c:v>42398</c:v>
                </c:pt>
                <c:pt idx="4614">
                  <c:v>42401</c:v>
                </c:pt>
                <c:pt idx="4615">
                  <c:v>42402</c:v>
                </c:pt>
                <c:pt idx="4616">
                  <c:v>42403</c:v>
                </c:pt>
                <c:pt idx="4617">
                  <c:v>42404</c:v>
                </c:pt>
                <c:pt idx="4618">
                  <c:v>42405</c:v>
                </c:pt>
                <c:pt idx="4619">
                  <c:v>42408</c:v>
                </c:pt>
                <c:pt idx="4620">
                  <c:v>42409</c:v>
                </c:pt>
                <c:pt idx="4621">
                  <c:v>42410</c:v>
                </c:pt>
                <c:pt idx="4622">
                  <c:v>42411</c:v>
                </c:pt>
                <c:pt idx="4623">
                  <c:v>42412</c:v>
                </c:pt>
                <c:pt idx="4624">
                  <c:v>42416</c:v>
                </c:pt>
                <c:pt idx="4625">
                  <c:v>42417</c:v>
                </c:pt>
                <c:pt idx="4626">
                  <c:v>42418</c:v>
                </c:pt>
                <c:pt idx="4627">
                  <c:v>42419</c:v>
                </c:pt>
                <c:pt idx="4628">
                  <c:v>42422</c:v>
                </c:pt>
                <c:pt idx="4629">
                  <c:v>42423</c:v>
                </c:pt>
                <c:pt idx="4630">
                  <c:v>42424</c:v>
                </c:pt>
                <c:pt idx="4631">
                  <c:v>42425</c:v>
                </c:pt>
                <c:pt idx="4632">
                  <c:v>42426</c:v>
                </c:pt>
                <c:pt idx="4633">
                  <c:v>42429</c:v>
                </c:pt>
                <c:pt idx="4634">
                  <c:v>42430</c:v>
                </c:pt>
                <c:pt idx="4635">
                  <c:v>42431</c:v>
                </c:pt>
                <c:pt idx="4636">
                  <c:v>42432</c:v>
                </c:pt>
                <c:pt idx="4637">
                  <c:v>42433</c:v>
                </c:pt>
                <c:pt idx="4638">
                  <c:v>42436</c:v>
                </c:pt>
                <c:pt idx="4639">
                  <c:v>42437</c:v>
                </c:pt>
                <c:pt idx="4640">
                  <c:v>42438</c:v>
                </c:pt>
                <c:pt idx="4641">
                  <c:v>42439</c:v>
                </c:pt>
                <c:pt idx="4642">
                  <c:v>42440</c:v>
                </c:pt>
                <c:pt idx="4643">
                  <c:v>42443</c:v>
                </c:pt>
                <c:pt idx="4644">
                  <c:v>42444</c:v>
                </c:pt>
                <c:pt idx="4645">
                  <c:v>42445</c:v>
                </c:pt>
                <c:pt idx="4646">
                  <c:v>42446</c:v>
                </c:pt>
                <c:pt idx="4647">
                  <c:v>42447</c:v>
                </c:pt>
                <c:pt idx="4648">
                  <c:v>42450</c:v>
                </c:pt>
                <c:pt idx="4649">
                  <c:v>42451</c:v>
                </c:pt>
                <c:pt idx="4650">
                  <c:v>42452</c:v>
                </c:pt>
                <c:pt idx="4651">
                  <c:v>42453</c:v>
                </c:pt>
                <c:pt idx="4652">
                  <c:v>42457</c:v>
                </c:pt>
                <c:pt idx="4653">
                  <c:v>42458</c:v>
                </c:pt>
                <c:pt idx="4654">
                  <c:v>42459</c:v>
                </c:pt>
                <c:pt idx="4655">
                  <c:v>42460</c:v>
                </c:pt>
                <c:pt idx="4656">
                  <c:v>42461</c:v>
                </c:pt>
                <c:pt idx="4657">
                  <c:v>42464</c:v>
                </c:pt>
                <c:pt idx="4658">
                  <c:v>42465</c:v>
                </c:pt>
                <c:pt idx="4659">
                  <c:v>42466</c:v>
                </c:pt>
                <c:pt idx="4660">
                  <c:v>42467</c:v>
                </c:pt>
                <c:pt idx="4661">
                  <c:v>42468</c:v>
                </c:pt>
                <c:pt idx="4662">
                  <c:v>42471</c:v>
                </c:pt>
                <c:pt idx="4663">
                  <c:v>42472</c:v>
                </c:pt>
                <c:pt idx="4664">
                  <c:v>42473</c:v>
                </c:pt>
                <c:pt idx="4665">
                  <c:v>42474</c:v>
                </c:pt>
                <c:pt idx="4666">
                  <c:v>42475</c:v>
                </c:pt>
                <c:pt idx="4667">
                  <c:v>42478</c:v>
                </c:pt>
                <c:pt idx="4668">
                  <c:v>42479</c:v>
                </c:pt>
                <c:pt idx="4669">
                  <c:v>42480</c:v>
                </c:pt>
                <c:pt idx="4670">
                  <c:v>42481</c:v>
                </c:pt>
                <c:pt idx="4671">
                  <c:v>42482</c:v>
                </c:pt>
                <c:pt idx="4672">
                  <c:v>42485</c:v>
                </c:pt>
                <c:pt idx="4673">
                  <c:v>42486</c:v>
                </c:pt>
                <c:pt idx="4674">
                  <c:v>42487</c:v>
                </c:pt>
                <c:pt idx="4675">
                  <c:v>42488</c:v>
                </c:pt>
                <c:pt idx="4676">
                  <c:v>42489</c:v>
                </c:pt>
                <c:pt idx="4677">
                  <c:v>42492</c:v>
                </c:pt>
                <c:pt idx="4678">
                  <c:v>42493</c:v>
                </c:pt>
                <c:pt idx="4679">
                  <c:v>42494</c:v>
                </c:pt>
                <c:pt idx="4680">
                  <c:v>42495</c:v>
                </c:pt>
                <c:pt idx="4681">
                  <c:v>42496</c:v>
                </c:pt>
                <c:pt idx="4682">
                  <c:v>42499</c:v>
                </c:pt>
                <c:pt idx="4683">
                  <c:v>42500</c:v>
                </c:pt>
                <c:pt idx="4684">
                  <c:v>42501</c:v>
                </c:pt>
                <c:pt idx="4685">
                  <c:v>42502</c:v>
                </c:pt>
                <c:pt idx="4686">
                  <c:v>42503</c:v>
                </c:pt>
                <c:pt idx="4687">
                  <c:v>42506</c:v>
                </c:pt>
                <c:pt idx="4688">
                  <c:v>42507</c:v>
                </c:pt>
                <c:pt idx="4689">
                  <c:v>42508</c:v>
                </c:pt>
                <c:pt idx="4690">
                  <c:v>42509</c:v>
                </c:pt>
                <c:pt idx="4691">
                  <c:v>42510</c:v>
                </c:pt>
                <c:pt idx="4692">
                  <c:v>42513</c:v>
                </c:pt>
                <c:pt idx="4693">
                  <c:v>42514</c:v>
                </c:pt>
                <c:pt idx="4694">
                  <c:v>42515</c:v>
                </c:pt>
                <c:pt idx="4695">
                  <c:v>42516</c:v>
                </c:pt>
                <c:pt idx="4696">
                  <c:v>42517</c:v>
                </c:pt>
                <c:pt idx="4697">
                  <c:v>42521</c:v>
                </c:pt>
                <c:pt idx="4698">
                  <c:v>42522</c:v>
                </c:pt>
                <c:pt idx="4699">
                  <c:v>42523</c:v>
                </c:pt>
                <c:pt idx="4700">
                  <c:v>42524</c:v>
                </c:pt>
                <c:pt idx="4701">
                  <c:v>42527</c:v>
                </c:pt>
                <c:pt idx="4702">
                  <c:v>42528</c:v>
                </c:pt>
                <c:pt idx="4703">
                  <c:v>42529</c:v>
                </c:pt>
                <c:pt idx="4704">
                  <c:v>42530</c:v>
                </c:pt>
                <c:pt idx="4705">
                  <c:v>42531</c:v>
                </c:pt>
                <c:pt idx="4706">
                  <c:v>42534</c:v>
                </c:pt>
                <c:pt idx="4707">
                  <c:v>42535</c:v>
                </c:pt>
                <c:pt idx="4708">
                  <c:v>42536</c:v>
                </c:pt>
                <c:pt idx="4709">
                  <c:v>42537</c:v>
                </c:pt>
                <c:pt idx="4710">
                  <c:v>42538</c:v>
                </c:pt>
                <c:pt idx="4711">
                  <c:v>42541</c:v>
                </c:pt>
                <c:pt idx="4712">
                  <c:v>42542</c:v>
                </c:pt>
                <c:pt idx="4713">
                  <c:v>42543</c:v>
                </c:pt>
                <c:pt idx="4714">
                  <c:v>42544</c:v>
                </c:pt>
                <c:pt idx="4715">
                  <c:v>42545</c:v>
                </c:pt>
                <c:pt idx="4716">
                  <c:v>42548</c:v>
                </c:pt>
                <c:pt idx="4717">
                  <c:v>42549</c:v>
                </c:pt>
                <c:pt idx="4718">
                  <c:v>42550</c:v>
                </c:pt>
                <c:pt idx="4719">
                  <c:v>42551</c:v>
                </c:pt>
                <c:pt idx="4720">
                  <c:v>42552</c:v>
                </c:pt>
                <c:pt idx="4721">
                  <c:v>42555</c:v>
                </c:pt>
                <c:pt idx="4722">
                  <c:v>42556</c:v>
                </c:pt>
                <c:pt idx="4723">
                  <c:v>42557</c:v>
                </c:pt>
                <c:pt idx="4724">
                  <c:v>42558</c:v>
                </c:pt>
                <c:pt idx="4725">
                  <c:v>42559</c:v>
                </c:pt>
                <c:pt idx="4726">
                  <c:v>42562</c:v>
                </c:pt>
                <c:pt idx="4727">
                  <c:v>42563</c:v>
                </c:pt>
                <c:pt idx="4728">
                  <c:v>42564</c:v>
                </c:pt>
                <c:pt idx="4729">
                  <c:v>42565</c:v>
                </c:pt>
                <c:pt idx="4730">
                  <c:v>42566</c:v>
                </c:pt>
                <c:pt idx="4731">
                  <c:v>42569</c:v>
                </c:pt>
                <c:pt idx="4732">
                  <c:v>42570</c:v>
                </c:pt>
                <c:pt idx="4733">
                  <c:v>42571</c:v>
                </c:pt>
                <c:pt idx="4734">
                  <c:v>42572</c:v>
                </c:pt>
                <c:pt idx="4735">
                  <c:v>42573</c:v>
                </c:pt>
                <c:pt idx="4736">
                  <c:v>42576</c:v>
                </c:pt>
                <c:pt idx="4737">
                  <c:v>42577</c:v>
                </c:pt>
                <c:pt idx="4738">
                  <c:v>42578</c:v>
                </c:pt>
                <c:pt idx="4739">
                  <c:v>42579</c:v>
                </c:pt>
                <c:pt idx="4740">
                  <c:v>42580</c:v>
                </c:pt>
                <c:pt idx="4741">
                  <c:v>42583</c:v>
                </c:pt>
                <c:pt idx="4742">
                  <c:v>42584</c:v>
                </c:pt>
                <c:pt idx="4743">
                  <c:v>42585</c:v>
                </c:pt>
                <c:pt idx="4744">
                  <c:v>42586</c:v>
                </c:pt>
                <c:pt idx="4745">
                  <c:v>42587</c:v>
                </c:pt>
                <c:pt idx="4746">
                  <c:v>42590</c:v>
                </c:pt>
                <c:pt idx="4747">
                  <c:v>42591</c:v>
                </c:pt>
                <c:pt idx="4748">
                  <c:v>42592</c:v>
                </c:pt>
                <c:pt idx="4749">
                  <c:v>42593</c:v>
                </c:pt>
                <c:pt idx="4750">
                  <c:v>42594</c:v>
                </c:pt>
                <c:pt idx="4751">
                  <c:v>42597</c:v>
                </c:pt>
                <c:pt idx="4752">
                  <c:v>42598</c:v>
                </c:pt>
                <c:pt idx="4753">
                  <c:v>42599</c:v>
                </c:pt>
                <c:pt idx="4754">
                  <c:v>42600</c:v>
                </c:pt>
                <c:pt idx="4755">
                  <c:v>42601</c:v>
                </c:pt>
                <c:pt idx="4756">
                  <c:v>42604</c:v>
                </c:pt>
                <c:pt idx="4757">
                  <c:v>42605</c:v>
                </c:pt>
                <c:pt idx="4758">
                  <c:v>42606</c:v>
                </c:pt>
                <c:pt idx="4759">
                  <c:v>42607</c:v>
                </c:pt>
                <c:pt idx="4760">
                  <c:v>42608</c:v>
                </c:pt>
                <c:pt idx="4761">
                  <c:v>42611</c:v>
                </c:pt>
                <c:pt idx="4762">
                  <c:v>42612</c:v>
                </c:pt>
                <c:pt idx="4763">
                  <c:v>42613</c:v>
                </c:pt>
                <c:pt idx="4764">
                  <c:v>42614</c:v>
                </c:pt>
                <c:pt idx="4765">
                  <c:v>42615</c:v>
                </c:pt>
                <c:pt idx="4766">
                  <c:v>42618</c:v>
                </c:pt>
                <c:pt idx="4767">
                  <c:v>42619</c:v>
                </c:pt>
                <c:pt idx="4768">
                  <c:v>42620</c:v>
                </c:pt>
                <c:pt idx="4769">
                  <c:v>42621</c:v>
                </c:pt>
                <c:pt idx="4770">
                  <c:v>42622</c:v>
                </c:pt>
                <c:pt idx="4771">
                  <c:v>42625</c:v>
                </c:pt>
                <c:pt idx="4772">
                  <c:v>42626</c:v>
                </c:pt>
                <c:pt idx="4773">
                  <c:v>42627</c:v>
                </c:pt>
                <c:pt idx="4774">
                  <c:v>42628</c:v>
                </c:pt>
                <c:pt idx="4775">
                  <c:v>42629</c:v>
                </c:pt>
                <c:pt idx="4776">
                  <c:v>42632</c:v>
                </c:pt>
                <c:pt idx="4777">
                  <c:v>42633</c:v>
                </c:pt>
                <c:pt idx="4778">
                  <c:v>42634</c:v>
                </c:pt>
                <c:pt idx="4779">
                  <c:v>42635</c:v>
                </c:pt>
                <c:pt idx="4780">
                  <c:v>42636</c:v>
                </c:pt>
                <c:pt idx="4781">
                  <c:v>42639</c:v>
                </c:pt>
              </c:numCache>
            </c:numRef>
          </c:cat>
          <c:val>
            <c:numRef>
              <c:f>'[PET_PRI_SPT_S1_D.xls]Data 1'!$F$3082:$F$7863</c:f>
              <c:numCache>
                <c:formatCode>General</c:formatCode>
                <c:ptCount val="4782"/>
                <c:pt idx="0">
                  <c:v>17.41</c:v>
                </c:pt>
                <c:pt idx="1">
                  <c:v>16.95</c:v>
                </c:pt>
                <c:pt idx="2">
                  <c:v>16.64</c:v>
                </c:pt>
                <c:pt idx="3">
                  <c:v>16.91</c:v>
                </c:pt>
                <c:pt idx="4">
                  <c:v>17.010000000000002</c:v>
                </c:pt>
                <c:pt idx="5">
                  <c:v>16.649999999999999</c:v>
                </c:pt>
                <c:pt idx="6">
                  <c:v>16.53</c:v>
                </c:pt>
                <c:pt idx="7">
                  <c:v>16.440000000000001</c:v>
                </c:pt>
                <c:pt idx="8">
                  <c:v>16.54</c:v>
                </c:pt>
                <c:pt idx="9">
                  <c:v>16.350000000000001</c:v>
                </c:pt>
                <c:pt idx="10">
                  <c:v>16.48</c:v>
                </c:pt>
                <c:pt idx="12">
                  <c:v>16.43</c:v>
                </c:pt>
                <c:pt idx="13">
                  <c:v>16.05</c:v>
                </c:pt>
                <c:pt idx="14">
                  <c:v>15.93</c:v>
                </c:pt>
                <c:pt idx="15">
                  <c:v>15.65</c:v>
                </c:pt>
                <c:pt idx="16">
                  <c:v>16.96</c:v>
                </c:pt>
                <c:pt idx="17">
                  <c:v>17.059999999999999</c:v>
                </c:pt>
                <c:pt idx="18">
                  <c:v>17.350000000000001</c:v>
                </c:pt>
                <c:pt idx="19">
                  <c:v>17.93</c:v>
                </c:pt>
                <c:pt idx="20">
                  <c:v>17.21</c:v>
                </c:pt>
                <c:pt idx="21">
                  <c:v>17.07</c:v>
                </c:pt>
                <c:pt idx="22">
                  <c:v>16.43</c:v>
                </c:pt>
                <c:pt idx="23">
                  <c:v>16.420000000000002</c:v>
                </c:pt>
                <c:pt idx="24">
                  <c:v>16.63</c:v>
                </c:pt>
                <c:pt idx="25">
                  <c:v>16.72</c:v>
                </c:pt>
                <c:pt idx="26">
                  <c:v>16.59</c:v>
                </c:pt>
                <c:pt idx="27">
                  <c:v>16.48</c:v>
                </c:pt>
                <c:pt idx="28">
                  <c:v>16.170000000000002</c:v>
                </c:pt>
                <c:pt idx="29">
                  <c:v>15.97</c:v>
                </c:pt>
                <c:pt idx="30">
                  <c:v>16.03</c:v>
                </c:pt>
                <c:pt idx="32">
                  <c:v>15.64</c:v>
                </c:pt>
                <c:pt idx="33">
                  <c:v>16.239999999999998</c:v>
                </c:pt>
                <c:pt idx="34">
                  <c:v>16.12</c:v>
                </c:pt>
                <c:pt idx="35">
                  <c:v>16.13</c:v>
                </c:pt>
                <c:pt idx="36">
                  <c:v>15.23</c:v>
                </c:pt>
                <c:pt idx="37">
                  <c:v>15.14</c:v>
                </c:pt>
                <c:pt idx="38">
                  <c:v>15.28</c:v>
                </c:pt>
                <c:pt idx="39">
                  <c:v>15.41</c:v>
                </c:pt>
                <c:pt idx="40">
                  <c:v>15.44</c:v>
                </c:pt>
                <c:pt idx="41">
                  <c:v>15.32</c:v>
                </c:pt>
                <c:pt idx="42">
                  <c:v>15.28</c:v>
                </c:pt>
                <c:pt idx="43">
                  <c:v>15.33</c:v>
                </c:pt>
                <c:pt idx="44">
                  <c:v>15.34</c:v>
                </c:pt>
                <c:pt idx="45">
                  <c:v>14.9</c:v>
                </c:pt>
                <c:pt idx="46">
                  <c:v>14.58</c:v>
                </c:pt>
                <c:pt idx="47">
                  <c:v>14.54</c:v>
                </c:pt>
                <c:pt idx="48">
                  <c:v>14.3</c:v>
                </c:pt>
                <c:pt idx="49">
                  <c:v>14.4</c:v>
                </c:pt>
                <c:pt idx="50">
                  <c:v>14.19</c:v>
                </c:pt>
                <c:pt idx="51">
                  <c:v>13.41</c:v>
                </c:pt>
                <c:pt idx="52">
                  <c:v>13.67</c:v>
                </c:pt>
                <c:pt idx="53">
                  <c:v>14.36</c:v>
                </c:pt>
                <c:pt idx="54">
                  <c:v>14.43</c:v>
                </c:pt>
                <c:pt idx="55">
                  <c:v>14.31</c:v>
                </c:pt>
                <c:pt idx="56">
                  <c:v>16.14</c:v>
                </c:pt>
                <c:pt idx="57">
                  <c:v>15.52</c:v>
                </c:pt>
                <c:pt idx="58">
                  <c:v>16.690000000000001</c:v>
                </c:pt>
                <c:pt idx="59">
                  <c:v>16.920000000000002</c:v>
                </c:pt>
                <c:pt idx="60">
                  <c:v>16.84</c:v>
                </c:pt>
                <c:pt idx="61">
                  <c:v>16.32</c:v>
                </c:pt>
                <c:pt idx="62">
                  <c:v>15.75</c:v>
                </c:pt>
                <c:pt idx="63">
                  <c:v>15.69</c:v>
                </c:pt>
                <c:pt idx="64">
                  <c:v>16.04</c:v>
                </c:pt>
                <c:pt idx="65">
                  <c:v>16.079999999999998</c:v>
                </c:pt>
                <c:pt idx="66">
                  <c:v>15.48</c:v>
                </c:pt>
                <c:pt idx="67">
                  <c:v>15.39</c:v>
                </c:pt>
                <c:pt idx="68">
                  <c:v>15.71</c:v>
                </c:pt>
                <c:pt idx="69">
                  <c:v>15.61</c:v>
                </c:pt>
                <c:pt idx="70">
                  <c:v>15.35</c:v>
                </c:pt>
                <c:pt idx="71">
                  <c:v>15.18</c:v>
                </c:pt>
                <c:pt idx="72">
                  <c:v>15.64</c:v>
                </c:pt>
                <c:pt idx="73">
                  <c:v>15.97</c:v>
                </c:pt>
                <c:pt idx="74">
                  <c:v>15.49</c:v>
                </c:pt>
                <c:pt idx="75">
                  <c:v>15.52</c:v>
                </c:pt>
                <c:pt idx="76">
                  <c:v>15.57</c:v>
                </c:pt>
                <c:pt idx="77">
                  <c:v>15.07</c:v>
                </c:pt>
                <c:pt idx="78">
                  <c:v>13.09</c:v>
                </c:pt>
                <c:pt idx="79">
                  <c:v>13.23</c:v>
                </c:pt>
                <c:pt idx="80">
                  <c:v>15.43</c:v>
                </c:pt>
                <c:pt idx="81">
                  <c:v>15.9</c:v>
                </c:pt>
                <c:pt idx="82">
                  <c:v>15.43</c:v>
                </c:pt>
                <c:pt idx="83">
                  <c:v>15.56</c:v>
                </c:pt>
                <c:pt idx="84">
                  <c:v>16.25</c:v>
                </c:pt>
                <c:pt idx="85">
                  <c:v>15.98</c:v>
                </c:pt>
                <c:pt idx="86">
                  <c:v>15.48</c:v>
                </c:pt>
                <c:pt idx="87">
                  <c:v>15.45</c:v>
                </c:pt>
                <c:pt idx="88">
                  <c:v>15.26</c:v>
                </c:pt>
                <c:pt idx="89">
                  <c:v>15.21</c:v>
                </c:pt>
                <c:pt idx="90">
                  <c:v>15.26</c:v>
                </c:pt>
                <c:pt idx="91">
                  <c:v>15.21</c:v>
                </c:pt>
                <c:pt idx="92">
                  <c:v>15.01</c:v>
                </c:pt>
                <c:pt idx="93">
                  <c:v>15.15</c:v>
                </c:pt>
                <c:pt idx="94">
                  <c:v>14.51</c:v>
                </c:pt>
                <c:pt idx="95">
                  <c:v>14.15</c:v>
                </c:pt>
                <c:pt idx="96">
                  <c:v>13.01</c:v>
                </c:pt>
                <c:pt idx="97">
                  <c:v>13.36</c:v>
                </c:pt>
                <c:pt idx="98">
                  <c:v>14.21</c:v>
                </c:pt>
                <c:pt idx="99">
                  <c:v>14.81</c:v>
                </c:pt>
                <c:pt idx="100">
                  <c:v>14.9</c:v>
                </c:pt>
                <c:pt idx="101">
                  <c:v>14.98</c:v>
                </c:pt>
                <c:pt idx="102">
                  <c:v>14.88</c:v>
                </c:pt>
                <c:pt idx="103">
                  <c:v>15.21</c:v>
                </c:pt>
                <c:pt idx="104">
                  <c:v>14.99</c:v>
                </c:pt>
                <c:pt idx="105">
                  <c:v>14.81</c:v>
                </c:pt>
                <c:pt idx="106">
                  <c:v>14.94</c:v>
                </c:pt>
                <c:pt idx="107">
                  <c:v>15.24</c:v>
                </c:pt>
                <c:pt idx="108">
                  <c:v>15.13</c:v>
                </c:pt>
                <c:pt idx="109">
                  <c:v>14.49</c:v>
                </c:pt>
                <c:pt idx="110">
                  <c:v>13.76</c:v>
                </c:pt>
                <c:pt idx="111">
                  <c:v>13.54</c:v>
                </c:pt>
                <c:pt idx="112">
                  <c:v>12.67</c:v>
                </c:pt>
                <c:pt idx="113">
                  <c:v>12.66</c:v>
                </c:pt>
                <c:pt idx="114">
                  <c:v>11.69</c:v>
                </c:pt>
                <c:pt idx="115">
                  <c:v>12.38</c:v>
                </c:pt>
                <c:pt idx="116">
                  <c:v>12.55</c:v>
                </c:pt>
                <c:pt idx="117">
                  <c:v>11.8</c:v>
                </c:pt>
                <c:pt idx="118">
                  <c:v>11.8</c:v>
                </c:pt>
                <c:pt idx="119">
                  <c:v>13.54</c:v>
                </c:pt>
                <c:pt idx="120">
                  <c:v>14.65</c:v>
                </c:pt>
                <c:pt idx="121">
                  <c:v>14.54</c:v>
                </c:pt>
                <c:pt idx="122">
                  <c:v>13.9</c:v>
                </c:pt>
                <c:pt idx="123">
                  <c:v>14.21</c:v>
                </c:pt>
                <c:pt idx="124">
                  <c:v>14.29</c:v>
                </c:pt>
                <c:pt idx="125">
                  <c:v>14.3</c:v>
                </c:pt>
                <c:pt idx="126">
                  <c:v>14.47</c:v>
                </c:pt>
                <c:pt idx="127">
                  <c:v>14.58</c:v>
                </c:pt>
                <c:pt idx="129">
                  <c:v>13.87</c:v>
                </c:pt>
                <c:pt idx="130">
                  <c:v>13.83</c:v>
                </c:pt>
                <c:pt idx="131">
                  <c:v>14.01</c:v>
                </c:pt>
                <c:pt idx="132">
                  <c:v>14.01</c:v>
                </c:pt>
                <c:pt idx="133">
                  <c:v>13.96</c:v>
                </c:pt>
                <c:pt idx="134">
                  <c:v>14.06</c:v>
                </c:pt>
                <c:pt idx="135">
                  <c:v>14.87</c:v>
                </c:pt>
                <c:pt idx="136">
                  <c:v>14.9</c:v>
                </c:pt>
                <c:pt idx="137">
                  <c:v>14.54</c:v>
                </c:pt>
                <c:pt idx="138">
                  <c:v>14.02</c:v>
                </c:pt>
                <c:pt idx="139">
                  <c:v>13.44</c:v>
                </c:pt>
                <c:pt idx="140">
                  <c:v>13.83</c:v>
                </c:pt>
                <c:pt idx="141">
                  <c:v>14.29</c:v>
                </c:pt>
                <c:pt idx="142">
                  <c:v>13.97</c:v>
                </c:pt>
                <c:pt idx="143">
                  <c:v>13.93</c:v>
                </c:pt>
                <c:pt idx="144">
                  <c:v>14.37</c:v>
                </c:pt>
                <c:pt idx="145">
                  <c:v>14.2</c:v>
                </c:pt>
                <c:pt idx="146">
                  <c:v>14.13</c:v>
                </c:pt>
                <c:pt idx="147">
                  <c:v>14.25</c:v>
                </c:pt>
                <c:pt idx="148">
                  <c:v>14.27</c:v>
                </c:pt>
                <c:pt idx="149">
                  <c:v>13.93</c:v>
                </c:pt>
                <c:pt idx="150">
                  <c:v>13.69</c:v>
                </c:pt>
                <c:pt idx="151">
                  <c:v>13.8</c:v>
                </c:pt>
                <c:pt idx="152">
                  <c:v>13.87</c:v>
                </c:pt>
                <c:pt idx="153">
                  <c:v>13.85</c:v>
                </c:pt>
                <c:pt idx="154">
                  <c:v>13.11</c:v>
                </c:pt>
                <c:pt idx="155">
                  <c:v>12.87</c:v>
                </c:pt>
                <c:pt idx="156">
                  <c:v>12.76</c:v>
                </c:pt>
                <c:pt idx="157">
                  <c:v>13.44</c:v>
                </c:pt>
                <c:pt idx="158">
                  <c:v>13.4</c:v>
                </c:pt>
                <c:pt idx="159">
                  <c:v>13.26</c:v>
                </c:pt>
                <c:pt idx="160">
                  <c:v>13.13</c:v>
                </c:pt>
                <c:pt idx="161">
                  <c:v>13.21</c:v>
                </c:pt>
                <c:pt idx="162">
                  <c:v>13.62</c:v>
                </c:pt>
                <c:pt idx="163">
                  <c:v>13.44</c:v>
                </c:pt>
                <c:pt idx="164">
                  <c:v>13.78</c:v>
                </c:pt>
                <c:pt idx="165">
                  <c:v>13.9</c:v>
                </c:pt>
                <c:pt idx="166">
                  <c:v>13.67</c:v>
                </c:pt>
                <c:pt idx="167">
                  <c:v>13.35</c:v>
                </c:pt>
                <c:pt idx="168">
                  <c:v>13.54</c:v>
                </c:pt>
                <c:pt idx="169">
                  <c:v>13.29</c:v>
                </c:pt>
                <c:pt idx="170">
                  <c:v>13.62</c:v>
                </c:pt>
                <c:pt idx="171">
                  <c:v>13.72</c:v>
                </c:pt>
                <c:pt idx="172">
                  <c:v>14.7</c:v>
                </c:pt>
                <c:pt idx="173">
                  <c:v>14.59</c:v>
                </c:pt>
                <c:pt idx="175">
                  <c:v>14.34</c:v>
                </c:pt>
                <c:pt idx="176">
                  <c:v>14.37</c:v>
                </c:pt>
                <c:pt idx="177">
                  <c:v>14.71</c:v>
                </c:pt>
                <c:pt idx="178">
                  <c:v>14.39</c:v>
                </c:pt>
                <c:pt idx="179">
                  <c:v>14.46</c:v>
                </c:pt>
                <c:pt idx="180">
                  <c:v>14.72</c:v>
                </c:pt>
                <c:pt idx="181">
                  <c:v>14.6</c:v>
                </c:pt>
                <c:pt idx="182">
                  <c:v>15.07</c:v>
                </c:pt>
                <c:pt idx="183">
                  <c:v>15.53</c:v>
                </c:pt>
                <c:pt idx="184">
                  <c:v>15.58</c:v>
                </c:pt>
                <c:pt idx="185">
                  <c:v>15.73</c:v>
                </c:pt>
                <c:pt idx="186">
                  <c:v>15.8</c:v>
                </c:pt>
                <c:pt idx="187">
                  <c:v>15.99</c:v>
                </c:pt>
                <c:pt idx="188">
                  <c:v>15.8</c:v>
                </c:pt>
                <c:pt idx="189">
                  <c:v>15.74</c:v>
                </c:pt>
                <c:pt idx="190">
                  <c:v>16.010000000000002</c:v>
                </c:pt>
                <c:pt idx="191">
                  <c:v>16.190000000000001</c:v>
                </c:pt>
                <c:pt idx="192">
                  <c:v>15.52</c:v>
                </c:pt>
                <c:pt idx="193">
                  <c:v>15.71</c:v>
                </c:pt>
                <c:pt idx="194">
                  <c:v>15.24</c:v>
                </c:pt>
                <c:pt idx="195">
                  <c:v>15.6</c:v>
                </c:pt>
                <c:pt idx="196">
                  <c:v>15.03</c:v>
                </c:pt>
                <c:pt idx="197">
                  <c:v>14.57</c:v>
                </c:pt>
                <c:pt idx="198">
                  <c:v>14.64</c:v>
                </c:pt>
                <c:pt idx="199">
                  <c:v>14.47</c:v>
                </c:pt>
                <c:pt idx="200">
                  <c:v>14.27</c:v>
                </c:pt>
                <c:pt idx="201">
                  <c:v>14.09</c:v>
                </c:pt>
                <c:pt idx="202">
                  <c:v>14.08</c:v>
                </c:pt>
                <c:pt idx="203">
                  <c:v>14.16</c:v>
                </c:pt>
                <c:pt idx="204">
                  <c:v>13.39</c:v>
                </c:pt>
                <c:pt idx="205">
                  <c:v>13.45</c:v>
                </c:pt>
                <c:pt idx="206">
                  <c:v>14.14</c:v>
                </c:pt>
                <c:pt idx="207">
                  <c:v>14</c:v>
                </c:pt>
                <c:pt idx="208">
                  <c:v>14.06</c:v>
                </c:pt>
                <c:pt idx="209">
                  <c:v>14.39</c:v>
                </c:pt>
                <c:pt idx="210">
                  <c:v>14.19</c:v>
                </c:pt>
                <c:pt idx="211">
                  <c:v>14.35</c:v>
                </c:pt>
                <c:pt idx="212">
                  <c:v>14.31</c:v>
                </c:pt>
                <c:pt idx="213">
                  <c:v>14.48</c:v>
                </c:pt>
                <c:pt idx="214">
                  <c:v>14.45</c:v>
                </c:pt>
                <c:pt idx="215">
                  <c:v>14.24</c:v>
                </c:pt>
                <c:pt idx="216">
                  <c:v>14.09</c:v>
                </c:pt>
                <c:pt idx="217">
                  <c:v>13.93</c:v>
                </c:pt>
                <c:pt idx="218">
                  <c:v>13.93</c:v>
                </c:pt>
                <c:pt idx="219">
                  <c:v>13.39</c:v>
                </c:pt>
                <c:pt idx="220">
                  <c:v>13.54</c:v>
                </c:pt>
                <c:pt idx="221">
                  <c:v>13.63</c:v>
                </c:pt>
                <c:pt idx="222">
                  <c:v>14.04</c:v>
                </c:pt>
                <c:pt idx="223">
                  <c:v>13.57</c:v>
                </c:pt>
                <c:pt idx="224">
                  <c:v>12.81</c:v>
                </c:pt>
                <c:pt idx="225">
                  <c:v>12.46</c:v>
                </c:pt>
                <c:pt idx="226">
                  <c:v>12.33</c:v>
                </c:pt>
                <c:pt idx="227">
                  <c:v>12.21</c:v>
                </c:pt>
                <c:pt idx="228">
                  <c:v>12.2</c:v>
                </c:pt>
                <c:pt idx="229">
                  <c:v>12.51</c:v>
                </c:pt>
                <c:pt idx="230">
                  <c:v>11.48</c:v>
                </c:pt>
                <c:pt idx="231">
                  <c:v>10.86</c:v>
                </c:pt>
                <c:pt idx="234">
                  <c:v>11.37</c:v>
                </c:pt>
                <c:pt idx="235">
                  <c:v>11.27</c:v>
                </c:pt>
                <c:pt idx="236">
                  <c:v>11.31</c:v>
                </c:pt>
                <c:pt idx="237">
                  <c:v>11.25</c:v>
                </c:pt>
                <c:pt idx="238">
                  <c:v>11.2</c:v>
                </c:pt>
                <c:pt idx="239">
                  <c:v>11.61</c:v>
                </c:pt>
                <c:pt idx="240">
                  <c:v>11.33</c:v>
                </c:pt>
                <c:pt idx="241">
                  <c:v>11.2</c:v>
                </c:pt>
                <c:pt idx="242">
                  <c:v>10.82</c:v>
                </c:pt>
                <c:pt idx="243">
                  <c:v>10.86</c:v>
                </c:pt>
                <c:pt idx="244">
                  <c:v>11.3</c:v>
                </c:pt>
                <c:pt idx="245">
                  <c:v>11.64</c:v>
                </c:pt>
                <c:pt idx="246">
                  <c:v>12.55</c:v>
                </c:pt>
                <c:pt idx="247">
                  <c:v>11.05</c:v>
                </c:pt>
                <c:pt idx="248">
                  <c:v>10.95</c:v>
                </c:pt>
                <c:pt idx="249">
                  <c:v>10.86</c:v>
                </c:pt>
                <c:pt idx="250">
                  <c:v>10.99</c:v>
                </c:pt>
                <c:pt idx="251">
                  <c:v>11.12</c:v>
                </c:pt>
                <c:pt idx="252">
                  <c:v>11.03</c:v>
                </c:pt>
                <c:pt idx="253">
                  <c:v>11.59</c:v>
                </c:pt>
                <c:pt idx="254">
                  <c:v>11.82</c:v>
                </c:pt>
                <c:pt idx="255">
                  <c:v>11.75</c:v>
                </c:pt>
                <c:pt idx="256">
                  <c:v>12.14</c:v>
                </c:pt>
                <c:pt idx="257">
                  <c:v>12.42</c:v>
                </c:pt>
                <c:pt idx="258">
                  <c:v>12.04</c:v>
                </c:pt>
                <c:pt idx="259">
                  <c:v>12.84</c:v>
                </c:pt>
                <c:pt idx="260">
                  <c:v>12.99</c:v>
                </c:pt>
                <c:pt idx="261">
                  <c:v>13.06</c:v>
                </c:pt>
                <c:pt idx="262">
                  <c:v>13.43</c:v>
                </c:pt>
                <c:pt idx="263">
                  <c:v>12.91</c:v>
                </c:pt>
                <c:pt idx="264">
                  <c:v>12.33</c:v>
                </c:pt>
                <c:pt idx="265">
                  <c:v>12.23</c:v>
                </c:pt>
                <c:pt idx="266">
                  <c:v>12.21</c:v>
                </c:pt>
                <c:pt idx="268">
                  <c:v>12.13</c:v>
                </c:pt>
                <c:pt idx="269">
                  <c:v>11.82</c:v>
                </c:pt>
                <c:pt idx="270">
                  <c:v>12.45</c:v>
                </c:pt>
                <c:pt idx="271">
                  <c:v>12.62</c:v>
                </c:pt>
                <c:pt idx="272">
                  <c:v>12.41</c:v>
                </c:pt>
                <c:pt idx="273">
                  <c:v>12.16</c:v>
                </c:pt>
                <c:pt idx="274">
                  <c:v>12.4</c:v>
                </c:pt>
                <c:pt idx="275">
                  <c:v>12.52</c:v>
                </c:pt>
                <c:pt idx="276">
                  <c:v>12.81</c:v>
                </c:pt>
                <c:pt idx="277">
                  <c:v>12.36</c:v>
                </c:pt>
                <c:pt idx="278">
                  <c:v>12.21</c:v>
                </c:pt>
                <c:pt idx="279">
                  <c:v>12.42</c:v>
                </c:pt>
                <c:pt idx="280">
                  <c:v>11.94</c:v>
                </c:pt>
                <c:pt idx="281">
                  <c:v>11.85</c:v>
                </c:pt>
                <c:pt idx="282">
                  <c:v>11.65</c:v>
                </c:pt>
                <c:pt idx="283">
                  <c:v>11.66</c:v>
                </c:pt>
                <c:pt idx="284">
                  <c:v>11.88</c:v>
                </c:pt>
                <c:pt idx="285">
                  <c:v>11.94</c:v>
                </c:pt>
                <c:pt idx="286">
                  <c:v>11.9</c:v>
                </c:pt>
                <c:pt idx="287">
                  <c:v>11.38</c:v>
                </c:pt>
                <c:pt idx="288">
                  <c:v>11.49</c:v>
                </c:pt>
                <c:pt idx="289">
                  <c:v>11.97</c:v>
                </c:pt>
                <c:pt idx="290">
                  <c:v>11.79</c:v>
                </c:pt>
                <c:pt idx="291">
                  <c:v>11.97</c:v>
                </c:pt>
                <c:pt idx="292">
                  <c:v>12.44</c:v>
                </c:pt>
                <c:pt idx="293">
                  <c:v>12.49</c:v>
                </c:pt>
                <c:pt idx="294">
                  <c:v>12.61</c:v>
                </c:pt>
                <c:pt idx="295">
                  <c:v>12.31</c:v>
                </c:pt>
                <c:pt idx="296">
                  <c:v>12.28</c:v>
                </c:pt>
                <c:pt idx="297">
                  <c:v>12.66</c:v>
                </c:pt>
                <c:pt idx="298">
                  <c:v>12.92</c:v>
                </c:pt>
                <c:pt idx="299">
                  <c:v>13.32</c:v>
                </c:pt>
                <c:pt idx="300">
                  <c:v>13.33</c:v>
                </c:pt>
                <c:pt idx="301">
                  <c:v>13.63</c:v>
                </c:pt>
                <c:pt idx="302">
                  <c:v>13.78</c:v>
                </c:pt>
                <c:pt idx="303">
                  <c:v>14.74</c:v>
                </c:pt>
                <c:pt idx="304">
                  <c:v>14.3</c:v>
                </c:pt>
                <c:pt idx="305">
                  <c:v>14.51</c:v>
                </c:pt>
                <c:pt idx="306">
                  <c:v>14.48</c:v>
                </c:pt>
                <c:pt idx="307">
                  <c:v>14.6</c:v>
                </c:pt>
                <c:pt idx="308">
                  <c:v>15.11</c:v>
                </c:pt>
                <c:pt idx="309">
                  <c:v>15.11</c:v>
                </c:pt>
                <c:pt idx="310">
                  <c:v>15.26</c:v>
                </c:pt>
                <c:pt idx="311">
                  <c:v>15.39</c:v>
                </c:pt>
                <c:pt idx="312">
                  <c:v>15.36</c:v>
                </c:pt>
                <c:pt idx="313">
                  <c:v>15.18</c:v>
                </c:pt>
                <c:pt idx="314">
                  <c:v>15.66</c:v>
                </c:pt>
                <c:pt idx="315">
                  <c:v>16.16</c:v>
                </c:pt>
                <c:pt idx="316">
                  <c:v>16.46</c:v>
                </c:pt>
                <c:pt idx="317">
                  <c:v>16.66</c:v>
                </c:pt>
                <c:pt idx="318">
                  <c:v>16.66</c:v>
                </c:pt>
                <c:pt idx="319">
                  <c:v>16.649999999999999</c:v>
                </c:pt>
                <c:pt idx="320">
                  <c:v>16.940000000000001</c:v>
                </c:pt>
                <c:pt idx="321">
                  <c:v>16.79</c:v>
                </c:pt>
                <c:pt idx="322">
                  <c:v>16.02</c:v>
                </c:pt>
                <c:pt idx="323">
                  <c:v>15.92</c:v>
                </c:pt>
                <c:pt idx="324">
                  <c:v>16.59</c:v>
                </c:pt>
                <c:pt idx="325">
                  <c:v>16.440000000000001</c:v>
                </c:pt>
                <c:pt idx="326">
                  <c:v>16.73</c:v>
                </c:pt>
                <c:pt idx="327">
                  <c:v>16.510000000000002</c:v>
                </c:pt>
                <c:pt idx="328">
                  <c:v>16.850000000000001</c:v>
                </c:pt>
                <c:pt idx="329">
                  <c:v>17.34</c:v>
                </c:pt>
                <c:pt idx="330">
                  <c:v>17.82</c:v>
                </c:pt>
                <c:pt idx="331">
                  <c:v>17.79</c:v>
                </c:pt>
                <c:pt idx="332">
                  <c:v>18.05</c:v>
                </c:pt>
                <c:pt idx="333">
                  <c:v>18.02</c:v>
                </c:pt>
                <c:pt idx="334">
                  <c:v>17.96</c:v>
                </c:pt>
                <c:pt idx="335">
                  <c:v>17.670000000000002</c:v>
                </c:pt>
                <c:pt idx="336">
                  <c:v>17.82</c:v>
                </c:pt>
                <c:pt idx="337">
                  <c:v>18.43</c:v>
                </c:pt>
                <c:pt idx="338">
                  <c:v>18.53</c:v>
                </c:pt>
                <c:pt idx="339">
                  <c:v>18.690000000000001</c:v>
                </c:pt>
                <c:pt idx="340">
                  <c:v>18.829999999999998</c:v>
                </c:pt>
                <c:pt idx="341">
                  <c:v>18.940000000000001</c:v>
                </c:pt>
                <c:pt idx="342">
                  <c:v>18.89</c:v>
                </c:pt>
                <c:pt idx="343">
                  <c:v>18.23</c:v>
                </c:pt>
                <c:pt idx="344">
                  <c:v>18.23</c:v>
                </c:pt>
                <c:pt idx="345">
                  <c:v>18.57</c:v>
                </c:pt>
                <c:pt idx="346">
                  <c:v>17.84</c:v>
                </c:pt>
                <c:pt idx="347">
                  <c:v>17.440000000000001</c:v>
                </c:pt>
                <c:pt idx="348">
                  <c:v>18.11</c:v>
                </c:pt>
                <c:pt idx="349">
                  <c:v>18.04</c:v>
                </c:pt>
                <c:pt idx="350">
                  <c:v>17.760000000000002</c:v>
                </c:pt>
                <c:pt idx="351">
                  <c:v>17.09</c:v>
                </c:pt>
                <c:pt idx="352">
                  <c:v>16.77</c:v>
                </c:pt>
                <c:pt idx="353">
                  <c:v>17.04</c:v>
                </c:pt>
                <c:pt idx="354">
                  <c:v>17.22</c:v>
                </c:pt>
                <c:pt idx="355">
                  <c:v>16.77</c:v>
                </c:pt>
                <c:pt idx="356">
                  <c:v>17.25</c:v>
                </c:pt>
                <c:pt idx="357">
                  <c:v>17.32</c:v>
                </c:pt>
                <c:pt idx="358">
                  <c:v>17.18</c:v>
                </c:pt>
                <c:pt idx="359">
                  <c:v>16.850000000000001</c:v>
                </c:pt>
                <c:pt idx="360">
                  <c:v>16.309999999999999</c:v>
                </c:pt>
                <c:pt idx="361">
                  <c:v>16.61</c:v>
                </c:pt>
                <c:pt idx="362">
                  <c:v>16.809999999999999</c:v>
                </c:pt>
                <c:pt idx="363">
                  <c:v>17.36</c:v>
                </c:pt>
                <c:pt idx="364">
                  <c:v>17.91</c:v>
                </c:pt>
                <c:pt idx="365">
                  <c:v>17.66</c:v>
                </c:pt>
                <c:pt idx="366">
                  <c:v>17.98</c:v>
                </c:pt>
                <c:pt idx="367">
                  <c:v>17.82</c:v>
                </c:pt>
                <c:pt idx="368">
                  <c:v>18.45</c:v>
                </c:pt>
                <c:pt idx="369">
                  <c:v>18.239999999999998</c:v>
                </c:pt>
                <c:pt idx="370">
                  <c:v>18.61</c:v>
                </c:pt>
                <c:pt idx="371">
                  <c:v>17.920000000000002</c:v>
                </c:pt>
                <c:pt idx="372">
                  <c:v>18.25</c:v>
                </c:pt>
                <c:pt idx="373">
                  <c:v>18.010000000000002</c:v>
                </c:pt>
                <c:pt idx="374">
                  <c:v>17.79</c:v>
                </c:pt>
                <c:pt idx="375">
                  <c:v>17.62</c:v>
                </c:pt>
                <c:pt idx="376">
                  <c:v>18.420000000000002</c:v>
                </c:pt>
                <c:pt idx="377">
                  <c:v>18.260000000000002</c:v>
                </c:pt>
                <c:pt idx="378">
                  <c:v>18.170000000000002</c:v>
                </c:pt>
                <c:pt idx="379">
                  <c:v>18.22</c:v>
                </c:pt>
                <c:pt idx="380">
                  <c:v>18.559999999999999</c:v>
                </c:pt>
                <c:pt idx="381">
                  <c:v>19.329999999999998</c:v>
                </c:pt>
                <c:pt idx="382">
                  <c:v>19.39</c:v>
                </c:pt>
                <c:pt idx="383">
                  <c:v>19.7</c:v>
                </c:pt>
                <c:pt idx="384">
                  <c:v>19.78</c:v>
                </c:pt>
                <c:pt idx="385">
                  <c:v>19.98</c:v>
                </c:pt>
                <c:pt idx="386">
                  <c:v>19.760000000000002</c:v>
                </c:pt>
                <c:pt idx="387">
                  <c:v>19.940000000000001</c:v>
                </c:pt>
                <c:pt idx="388">
                  <c:v>19.920000000000002</c:v>
                </c:pt>
                <c:pt idx="389">
                  <c:v>20.329999999999998</c:v>
                </c:pt>
                <c:pt idx="390">
                  <c:v>19.89</c:v>
                </c:pt>
                <c:pt idx="391">
                  <c:v>20.260000000000002</c:v>
                </c:pt>
                <c:pt idx="392">
                  <c:v>20.66</c:v>
                </c:pt>
                <c:pt idx="393">
                  <c:v>20.28</c:v>
                </c:pt>
                <c:pt idx="394">
                  <c:v>19.38</c:v>
                </c:pt>
                <c:pt idx="395">
                  <c:v>19.54</c:v>
                </c:pt>
                <c:pt idx="396">
                  <c:v>19.84</c:v>
                </c:pt>
                <c:pt idx="397">
                  <c:v>20.41</c:v>
                </c:pt>
                <c:pt idx="398">
                  <c:v>20.49</c:v>
                </c:pt>
                <c:pt idx="399">
                  <c:v>20.399999999999999</c:v>
                </c:pt>
                <c:pt idx="400">
                  <c:v>20.61</c:v>
                </c:pt>
                <c:pt idx="401">
                  <c:v>21.09</c:v>
                </c:pt>
                <c:pt idx="402">
                  <c:v>20.52</c:v>
                </c:pt>
                <c:pt idx="403">
                  <c:v>20.46</c:v>
                </c:pt>
                <c:pt idx="404">
                  <c:v>20.21</c:v>
                </c:pt>
                <c:pt idx="405">
                  <c:v>20.49</c:v>
                </c:pt>
                <c:pt idx="406">
                  <c:v>20.67</c:v>
                </c:pt>
                <c:pt idx="407">
                  <c:v>20.89</c:v>
                </c:pt>
                <c:pt idx="408">
                  <c:v>21.26</c:v>
                </c:pt>
                <c:pt idx="409">
                  <c:v>21.31</c:v>
                </c:pt>
                <c:pt idx="410">
                  <c:v>21.54</c:v>
                </c:pt>
                <c:pt idx="411">
                  <c:v>21.42</c:v>
                </c:pt>
                <c:pt idx="412">
                  <c:v>21.67</c:v>
                </c:pt>
                <c:pt idx="413">
                  <c:v>21.34</c:v>
                </c:pt>
                <c:pt idx="414">
                  <c:v>21.7</c:v>
                </c:pt>
                <c:pt idx="415">
                  <c:v>21.54</c:v>
                </c:pt>
                <c:pt idx="416">
                  <c:v>21.86</c:v>
                </c:pt>
                <c:pt idx="417">
                  <c:v>21.66</c:v>
                </c:pt>
                <c:pt idx="418">
                  <c:v>21.61</c:v>
                </c:pt>
                <c:pt idx="419">
                  <c:v>21.36</c:v>
                </c:pt>
                <c:pt idx="420">
                  <c:v>20.66</c:v>
                </c:pt>
                <c:pt idx="421">
                  <c:v>21.09</c:v>
                </c:pt>
                <c:pt idx="422">
                  <c:v>21.31</c:v>
                </c:pt>
                <c:pt idx="423">
                  <c:v>21.93</c:v>
                </c:pt>
                <c:pt idx="424">
                  <c:v>22.15</c:v>
                </c:pt>
                <c:pt idx="425">
                  <c:v>21.79</c:v>
                </c:pt>
                <c:pt idx="426">
                  <c:v>21.54</c:v>
                </c:pt>
                <c:pt idx="427">
                  <c:v>22</c:v>
                </c:pt>
                <c:pt idx="429">
                  <c:v>22.58</c:v>
                </c:pt>
                <c:pt idx="430">
                  <c:v>22.64</c:v>
                </c:pt>
                <c:pt idx="431">
                  <c:v>23.24</c:v>
                </c:pt>
                <c:pt idx="432">
                  <c:v>23.55</c:v>
                </c:pt>
                <c:pt idx="433">
                  <c:v>24.18</c:v>
                </c:pt>
                <c:pt idx="434">
                  <c:v>23.86</c:v>
                </c:pt>
                <c:pt idx="435">
                  <c:v>24.1</c:v>
                </c:pt>
                <c:pt idx="436">
                  <c:v>24.52</c:v>
                </c:pt>
                <c:pt idx="437">
                  <c:v>24.72</c:v>
                </c:pt>
                <c:pt idx="438">
                  <c:v>24.32</c:v>
                </c:pt>
                <c:pt idx="439">
                  <c:v>24.48</c:v>
                </c:pt>
                <c:pt idx="440">
                  <c:v>24.26</c:v>
                </c:pt>
                <c:pt idx="441">
                  <c:v>24.76</c:v>
                </c:pt>
                <c:pt idx="442">
                  <c:v>24.81</c:v>
                </c:pt>
                <c:pt idx="443">
                  <c:v>24.63</c:v>
                </c:pt>
                <c:pt idx="444">
                  <c:v>24.52</c:v>
                </c:pt>
                <c:pt idx="445">
                  <c:v>24.69</c:v>
                </c:pt>
                <c:pt idx="446">
                  <c:v>24.54</c:v>
                </c:pt>
                <c:pt idx="447">
                  <c:v>24.51</c:v>
                </c:pt>
                <c:pt idx="448">
                  <c:v>23.71</c:v>
                </c:pt>
                <c:pt idx="449">
                  <c:v>23.37</c:v>
                </c:pt>
                <c:pt idx="450">
                  <c:v>23.24</c:v>
                </c:pt>
                <c:pt idx="451">
                  <c:v>22.46</c:v>
                </c:pt>
                <c:pt idx="452">
                  <c:v>20.81</c:v>
                </c:pt>
                <c:pt idx="453">
                  <c:v>21.58</c:v>
                </c:pt>
                <c:pt idx="454">
                  <c:v>22.93</c:v>
                </c:pt>
                <c:pt idx="455">
                  <c:v>22.93</c:v>
                </c:pt>
                <c:pt idx="456">
                  <c:v>22.46</c:v>
                </c:pt>
                <c:pt idx="457">
                  <c:v>22.81</c:v>
                </c:pt>
                <c:pt idx="458">
                  <c:v>22.44</c:v>
                </c:pt>
                <c:pt idx="459">
                  <c:v>22.36</c:v>
                </c:pt>
                <c:pt idx="460">
                  <c:v>22.21</c:v>
                </c:pt>
                <c:pt idx="461">
                  <c:v>22.74</c:v>
                </c:pt>
                <c:pt idx="462">
                  <c:v>23.48</c:v>
                </c:pt>
                <c:pt idx="463">
                  <c:v>23.22</c:v>
                </c:pt>
                <c:pt idx="464">
                  <c:v>23.17</c:v>
                </c:pt>
                <c:pt idx="465">
                  <c:v>22.71</c:v>
                </c:pt>
                <c:pt idx="466">
                  <c:v>21.59</c:v>
                </c:pt>
                <c:pt idx="467">
                  <c:v>21.79</c:v>
                </c:pt>
                <c:pt idx="468">
                  <c:v>22.44</c:v>
                </c:pt>
                <c:pt idx="469">
                  <c:v>22.49</c:v>
                </c:pt>
                <c:pt idx="470">
                  <c:v>22.59</c:v>
                </c:pt>
                <c:pt idx="471">
                  <c:v>23.17</c:v>
                </c:pt>
                <c:pt idx="472">
                  <c:v>22.93</c:v>
                </c:pt>
                <c:pt idx="473">
                  <c:v>23.28</c:v>
                </c:pt>
                <c:pt idx="474">
                  <c:v>24.21</c:v>
                </c:pt>
                <c:pt idx="475">
                  <c:v>24.37</c:v>
                </c:pt>
                <c:pt idx="476">
                  <c:v>24.33</c:v>
                </c:pt>
                <c:pt idx="477">
                  <c:v>24.91</c:v>
                </c:pt>
                <c:pt idx="478">
                  <c:v>25.31</c:v>
                </c:pt>
                <c:pt idx="479">
                  <c:v>26.04</c:v>
                </c:pt>
                <c:pt idx="480">
                  <c:v>26.57</c:v>
                </c:pt>
                <c:pt idx="481">
                  <c:v>25.71</c:v>
                </c:pt>
                <c:pt idx="482">
                  <c:v>26.61</c:v>
                </c:pt>
                <c:pt idx="483">
                  <c:v>28.03</c:v>
                </c:pt>
                <c:pt idx="484">
                  <c:v>26.91</c:v>
                </c:pt>
                <c:pt idx="485">
                  <c:v>27.22</c:v>
                </c:pt>
                <c:pt idx="487">
                  <c:v>27.22</c:v>
                </c:pt>
                <c:pt idx="488">
                  <c:v>25.84</c:v>
                </c:pt>
                <c:pt idx="489">
                  <c:v>24.87</c:v>
                </c:pt>
                <c:pt idx="490">
                  <c:v>25.01</c:v>
                </c:pt>
                <c:pt idx="491">
                  <c:v>25.88</c:v>
                </c:pt>
                <c:pt idx="492">
                  <c:v>25.71</c:v>
                </c:pt>
                <c:pt idx="493">
                  <c:v>26.67</c:v>
                </c:pt>
                <c:pt idx="494">
                  <c:v>26.36</c:v>
                </c:pt>
                <c:pt idx="495">
                  <c:v>26.69</c:v>
                </c:pt>
                <c:pt idx="496">
                  <c:v>26</c:v>
                </c:pt>
                <c:pt idx="497">
                  <c:v>25.21</c:v>
                </c:pt>
                <c:pt idx="498">
                  <c:v>25.37</c:v>
                </c:pt>
                <c:pt idx="499">
                  <c:v>25.87</c:v>
                </c:pt>
                <c:pt idx="500">
                  <c:v>26.28</c:v>
                </c:pt>
                <c:pt idx="501">
                  <c:v>26.74</c:v>
                </c:pt>
                <c:pt idx="502">
                  <c:v>26.76</c:v>
                </c:pt>
                <c:pt idx="503">
                  <c:v>26.55</c:v>
                </c:pt>
                <c:pt idx="504">
                  <c:v>26.34</c:v>
                </c:pt>
                <c:pt idx="505">
                  <c:v>25.51</c:v>
                </c:pt>
                <c:pt idx="506">
                  <c:v>25.86</c:v>
                </c:pt>
                <c:pt idx="507">
                  <c:v>26.36</c:v>
                </c:pt>
                <c:pt idx="508">
                  <c:v>26.81</c:v>
                </c:pt>
                <c:pt idx="509">
                  <c:v>26.41</c:v>
                </c:pt>
                <c:pt idx="510">
                  <c:v>25.76</c:v>
                </c:pt>
                <c:pt idx="511">
                  <c:v>25.56</c:v>
                </c:pt>
                <c:pt idx="512">
                  <c:v>24.65</c:v>
                </c:pt>
                <c:pt idx="513">
                  <c:v>24.79</c:v>
                </c:pt>
                <c:pt idx="514">
                  <c:v>24.79</c:v>
                </c:pt>
                <c:pt idx="515">
                  <c:v>24.71</c:v>
                </c:pt>
                <c:pt idx="516">
                  <c:v>25.69</c:v>
                </c:pt>
                <c:pt idx="517">
                  <c:v>26.3</c:v>
                </c:pt>
                <c:pt idx="518">
                  <c:v>26.63</c:v>
                </c:pt>
                <c:pt idx="519">
                  <c:v>28.01</c:v>
                </c:pt>
                <c:pt idx="521">
                  <c:v>28.98</c:v>
                </c:pt>
                <c:pt idx="522">
                  <c:v>29.11</c:v>
                </c:pt>
                <c:pt idx="523">
                  <c:v>29.67</c:v>
                </c:pt>
                <c:pt idx="524">
                  <c:v>29.71</c:v>
                </c:pt>
                <c:pt idx="525">
                  <c:v>29.25</c:v>
                </c:pt>
                <c:pt idx="526">
                  <c:v>30.28</c:v>
                </c:pt>
                <c:pt idx="527">
                  <c:v>27.66</c:v>
                </c:pt>
                <c:pt idx="528">
                  <c:v>27.22</c:v>
                </c:pt>
                <c:pt idx="529">
                  <c:v>27.27</c:v>
                </c:pt>
                <c:pt idx="530">
                  <c:v>27.65</c:v>
                </c:pt>
                <c:pt idx="531">
                  <c:v>28.28</c:v>
                </c:pt>
                <c:pt idx="532">
                  <c:v>27.52</c:v>
                </c:pt>
                <c:pt idx="533">
                  <c:v>28.26</c:v>
                </c:pt>
                <c:pt idx="534">
                  <c:v>28.67</c:v>
                </c:pt>
                <c:pt idx="535">
                  <c:v>28.4</c:v>
                </c:pt>
                <c:pt idx="536">
                  <c:v>28.05</c:v>
                </c:pt>
                <c:pt idx="537">
                  <c:v>28.71</c:v>
                </c:pt>
                <c:pt idx="538">
                  <c:v>29.49</c:v>
                </c:pt>
                <c:pt idx="539">
                  <c:v>29.51</c:v>
                </c:pt>
                <c:pt idx="540">
                  <c:v>30.3</c:v>
                </c:pt>
                <c:pt idx="541">
                  <c:v>30.17</c:v>
                </c:pt>
                <c:pt idx="542">
                  <c:v>30.01</c:v>
                </c:pt>
                <c:pt idx="543">
                  <c:v>29.37</c:v>
                </c:pt>
                <c:pt idx="544">
                  <c:v>29.51</c:v>
                </c:pt>
                <c:pt idx="546">
                  <c:v>29.63</c:v>
                </c:pt>
                <c:pt idx="547">
                  <c:v>30.19</c:v>
                </c:pt>
                <c:pt idx="548">
                  <c:v>30.23</c:v>
                </c:pt>
                <c:pt idx="549">
                  <c:v>30.34</c:v>
                </c:pt>
                <c:pt idx="550">
                  <c:v>30.11</c:v>
                </c:pt>
                <c:pt idx="551">
                  <c:v>30.57</c:v>
                </c:pt>
                <c:pt idx="552">
                  <c:v>31.71</c:v>
                </c:pt>
                <c:pt idx="553">
                  <c:v>31.51</c:v>
                </c:pt>
                <c:pt idx="554">
                  <c:v>31.46</c:v>
                </c:pt>
                <c:pt idx="555">
                  <c:v>32.19</c:v>
                </c:pt>
                <c:pt idx="556">
                  <c:v>33.9</c:v>
                </c:pt>
                <c:pt idx="557">
                  <c:v>31.22</c:v>
                </c:pt>
                <c:pt idx="558">
                  <c:v>31.61</c:v>
                </c:pt>
                <c:pt idx="559">
                  <c:v>31.76</c:v>
                </c:pt>
                <c:pt idx="560">
                  <c:v>32.11</c:v>
                </c:pt>
                <c:pt idx="561">
                  <c:v>31.93</c:v>
                </c:pt>
                <c:pt idx="562">
                  <c:v>30.47</c:v>
                </c:pt>
                <c:pt idx="563">
                  <c:v>31.1</c:v>
                </c:pt>
                <c:pt idx="564">
                  <c:v>30.86</c:v>
                </c:pt>
                <c:pt idx="565">
                  <c:v>29.33</c:v>
                </c:pt>
                <c:pt idx="566">
                  <c:v>28.01</c:v>
                </c:pt>
                <c:pt idx="567">
                  <c:v>27.28</c:v>
                </c:pt>
                <c:pt idx="568">
                  <c:v>27.47</c:v>
                </c:pt>
                <c:pt idx="569">
                  <c:v>27.86</c:v>
                </c:pt>
                <c:pt idx="570">
                  <c:v>27.59</c:v>
                </c:pt>
                <c:pt idx="571">
                  <c:v>27.1</c:v>
                </c:pt>
                <c:pt idx="572">
                  <c:v>26.36</c:v>
                </c:pt>
                <c:pt idx="573">
                  <c:v>26.67</c:v>
                </c:pt>
                <c:pt idx="574">
                  <c:v>26.86</c:v>
                </c:pt>
                <c:pt idx="575">
                  <c:v>26.28</c:v>
                </c:pt>
                <c:pt idx="576">
                  <c:v>25.46</c:v>
                </c:pt>
                <c:pt idx="577">
                  <c:v>25.76</c:v>
                </c:pt>
                <c:pt idx="578">
                  <c:v>25.51</c:v>
                </c:pt>
                <c:pt idx="579">
                  <c:v>24.97</c:v>
                </c:pt>
                <c:pt idx="580">
                  <c:v>23.91</c:v>
                </c:pt>
                <c:pt idx="581">
                  <c:v>24.17</c:v>
                </c:pt>
                <c:pt idx="582">
                  <c:v>25.49</c:v>
                </c:pt>
                <c:pt idx="583">
                  <c:v>25.29</c:v>
                </c:pt>
                <c:pt idx="584">
                  <c:v>25.48</c:v>
                </c:pt>
                <c:pt idx="585">
                  <c:v>26.06</c:v>
                </c:pt>
                <c:pt idx="586">
                  <c:v>25.92</c:v>
                </c:pt>
                <c:pt idx="587">
                  <c:v>27.38</c:v>
                </c:pt>
                <c:pt idx="588">
                  <c:v>27.29</c:v>
                </c:pt>
                <c:pt idx="589">
                  <c:v>27.41</c:v>
                </c:pt>
                <c:pt idx="590">
                  <c:v>26.41</c:v>
                </c:pt>
                <c:pt idx="591">
                  <c:v>24.69</c:v>
                </c:pt>
                <c:pt idx="592">
                  <c:v>25.53</c:v>
                </c:pt>
                <c:pt idx="593">
                  <c:v>25.71</c:v>
                </c:pt>
                <c:pt idx="594">
                  <c:v>25.84</c:v>
                </c:pt>
                <c:pt idx="595">
                  <c:v>26.86</c:v>
                </c:pt>
                <c:pt idx="596">
                  <c:v>26.6</c:v>
                </c:pt>
                <c:pt idx="597">
                  <c:v>27.08</c:v>
                </c:pt>
                <c:pt idx="598">
                  <c:v>27.37</c:v>
                </c:pt>
                <c:pt idx="599">
                  <c:v>28.05</c:v>
                </c:pt>
                <c:pt idx="600">
                  <c:v>28.46</c:v>
                </c:pt>
                <c:pt idx="601">
                  <c:v>28.1</c:v>
                </c:pt>
                <c:pt idx="602">
                  <c:v>29.25</c:v>
                </c:pt>
                <c:pt idx="603">
                  <c:v>29.64</c:v>
                </c:pt>
                <c:pt idx="604">
                  <c:v>29.95</c:v>
                </c:pt>
                <c:pt idx="605">
                  <c:v>29.76</c:v>
                </c:pt>
                <c:pt idx="606">
                  <c:v>29.38</c:v>
                </c:pt>
                <c:pt idx="607">
                  <c:v>30.28</c:v>
                </c:pt>
                <c:pt idx="608">
                  <c:v>30.02</c:v>
                </c:pt>
                <c:pt idx="609">
                  <c:v>28.62</c:v>
                </c:pt>
                <c:pt idx="610">
                  <c:v>28.61</c:v>
                </c:pt>
                <c:pt idx="611">
                  <c:v>29.89</c:v>
                </c:pt>
                <c:pt idx="612">
                  <c:v>30.43</c:v>
                </c:pt>
                <c:pt idx="613">
                  <c:v>29.76</c:v>
                </c:pt>
                <c:pt idx="614">
                  <c:v>30.36</c:v>
                </c:pt>
                <c:pt idx="615">
                  <c:v>29.03</c:v>
                </c:pt>
                <c:pt idx="616">
                  <c:v>30.19</c:v>
                </c:pt>
                <c:pt idx="617">
                  <c:v>30.34</c:v>
                </c:pt>
                <c:pt idx="618">
                  <c:v>29.87</c:v>
                </c:pt>
                <c:pt idx="619">
                  <c:v>29.78</c:v>
                </c:pt>
                <c:pt idx="620">
                  <c:v>29.29</c:v>
                </c:pt>
                <c:pt idx="621">
                  <c:v>29.78</c:v>
                </c:pt>
                <c:pt idx="622">
                  <c:v>30.22</c:v>
                </c:pt>
                <c:pt idx="623">
                  <c:v>31.76</c:v>
                </c:pt>
                <c:pt idx="624">
                  <c:v>32.729999999999997</c:v>
                </c:pt>
                <c:pt idx="625">
                  <c:v>32.72</c:v>
                </c:pt>
                <c:pt idx="626">
                  <c:v>32.700000000000003</c:v>
                </c:pt>
                <c:pt idx="627">
                  <c:v>32.35</c:v>
                </c:pt>
                <c:pt idx="628">
                  <c:v>31.57</c:v>
                </c:pt>
                <c:pt idx="629">
                  <c:v>33.07</c:v>
                </c:pt>
                <c:pt idx="630">
                  <c:v>33.64</c:v>
                </c:pt>
                <c:pt idx="631">
                  <c:v>34.72</c:v>
                </c:pt>
                <c:pt idx="632">
                  <c:v>34.76</c:v>
                </c:pt>
                <c:pt idx="633">
                  <c:v>31.56</c:v>
                </c:pt>
                <c:pt idx="634">
                  <c:v>32.01</c:v>
                </c:pt>
                <c:pt idx="635">
                  <c:v>31.86</c:v>
                </c:pt>
                <c:pt idx="636">
                  <c:v>32.729999999999997</c:v>
                </c:pt>
                <c:pt idx="637">
                  <c:v>32.44</c:v>
                </c:pt>
                <c:pt idx="640">
                  <c:v>30.76</c:v>
                </c:pt>
                <c:pt idx="641">
                  <c:v>30.19</c:v>
                </c:pt>
                <c:pt idx="642">
                  <c:v>30.26</c:v>
                </c:pt>
                <c:pt idx="643">
                  <c:v>29.51</c:v>
                </c:pt>
                <c:pt idx="644">
                  <c:v>29.61</c:v>
                </c:pt>
                <c:pt idx="645">
                  <c:v>30.34</c:v>
                </c:pt>
                <c:pt idx="646">
                  <c:v>31.41</c:v>
                </c:pt>
                <c:pt idx="647">
                  <c:v>31.31</c:v>
                </c:pt>
                <c:pt idx="648">
                  <c:v>30.71</c:v>
                </c:pt>
                <c:pt idx="649">
                  <c:v>31.94</c:v>
                </c:pt>
                <c:pt idx="650">
                  <c:v>31.1</c:v>
                </c:pt>
                <c:pt idx="651">
                  <c:v>30.94</c:v>
                </c:pt>
                <c:pt idx="652">
                  <c:v>28.56</c:v>
                </c:pt>
                <c:pt idx="653">
                  <c:v>27.97</c:v>
                </c:pt>
                <c:pt idx="654">
                  <c:v>27.89</c:v>
                </c:pt>
                <c:pt idx="655">
                  <c:v>27.81</c:v>
                </c:pt>
                <c:pt idx="656">
                  <c:v>28.21</c:v>
                </c:pt>
                <c:pt idx="657">
                  <c:v>28.22</c:v>
                </c:pt>
                <c:pt idx="658">
                  <c:v>27.5</c:v>
                </c:pt>
                <c:pt idx="659">
                  <c:v>27.85</c:v>
                </c:pt>
                <c:pt idx="660">
                  <c:v>28.27</c:v>
                </c:pt>
                <c:pt idx="661">
                  <c:v>28.92</c:v>
                </c:pt>
                <c:pt idx="662">
                  <c:v>29.94</c:v>
                </c:pt>
                <c:pt idx="663">
                  <c:v>28.93</c:v>
                </c:pt>
                <c:pt idx="664">
                  <c:v>29.26</c:v>
                </c:pt>
                <c:pt idx="665">
                  <c:v>30.38</c:v>
                </c:pt>
                <c:pt idx="666">
                  <c:v>31.09</c:v>
                </c:pt>
                <c:pt idx="667">
                  <c:v>31.02</c:v>
                </c:pt>
                <c:pt idx="668">
                  <c:v>31.92</c:v>
                </c:pt>
                <c:pt idx="669">
                  <c:v>31.43</c:v>
                </c:pt>
                <c:pt idx="670">
                  <c:v>31.91</c:v>
                </c:pt>
                <c:pt idx="671">
                  <c:v>31.88</c:v>
                </c:pt>
                <c:pt idx="672">
                  <c:v>31.97</c:v>
                </c:pt>
                <c:pt idx="673">
                  <c:v>32.42</c:v>
                </c:pt>
                <c:pt idx="674">
                  <c:v>31.24</c:v>
                </c:pt>
                <c:pt idx="675">
                  <c:v>31.23</c:v>
                </c:pt>
                <c:pt idx="676">
                  <c:v>33.409999999999997</c:v>
                </c:pt>
                <c:pt idx="677">
                  <c:v>34.01</c:v>
                </c:pt>
                <c:pt idx="678">
                  <c:v>32.92</c:v>
                </c:pt>
                <c:pt idx="679">
                  <c:v>32.729999999999997</c:v>
                </c:pt>
                <c:pt idx="680">
                  <c:v>33.25</c:v>
                </c:pt>
                <c:pt idx="681">
                  <c:v>33.090000000000003</c:v>
                </c:pt>
                <c:pt idx="682">
                  <c:v>33.42</c:v>
                </c:pt>
                <c:pt idx="684">
                  <c:v>33.92</c:v>
                </c:pt>
                <c:pt idx="685">
                  <c:v>34.97</c:v>
                </c:pt>
                <c:pt idx="686">
                  <c:v>35.18</c:v>
                </c:pt>
                <c:pt idx="687">
                  <c:v>33.619999999999997</c:v>
                </c:pt>
                <c:pt idx="688">
                  <c:v>35.14</c:v>
                </c:pt>
                <c:pt idx="689">
                  <c:v>34.25</c:v>
                </c:pt>
                <c:pt idx="690">
                  <c:v>33.869999999999997</c:v>
                </c:pt>
                <c:pt idx="691">
                  <c:v>34.369999999999997</c:v>
                </c:pt>
                <c:pt idx="692">
                  <c:v>35.869999999999997</c:v>
                </c:pt>
                <c:pt idx="693">
                  <c:v>36.75</c:v>
                </c:pt>
                <c:pt idx="694">
                  <c:v>36.96</c:v>
                </c:pt>
                <c:pt idx="695">
                  <c:v>37.22</c:v>
                </c:pt>
                <c:pt idx="696">
                  <c:v>33.840000000000003</c:v>
                </c:pt>
                <c:pt idx="697">
                  <c:v>32.659999999999997</c:v>
                </c:pt>
                <c:pt idx="698">
                  <c:v>31.5</c:v>
                </c:pt>
                <c:pt idx="699">
                  <c:v>31.78</c:v>
                </c:pt>
                <c:pt idx="700">
                  <c:v>31.23</c:v>
                </c:pt>
                <c:pt idx="701">
                  <c:v>30.26</c:v>
                </c:pt>
                <c:pt idx="702">
                  <c:v>30.87</c:v>
                </c:pt>
                <c:pt idx="703">
                  <c:v>32.049999999999997</c:v>
                </c:pt>
                <c:pt idx="704">
                  <c:v>31.86</c:v>
                </c:pt>
                <c:pt idx="705">
                  <c:v>30.91</c:v>
                </c:pt>
                <c:pt idx="706">
                  <c:v>30.66</c:v>
                </c:pt>
                <c:pt idx="707">
                  <c:v>30.86</c:v>
                </c:pt>
                <c:pt idx="708">
                  <c:v>31.98</c:v>
                </c:pt>
                <c:pt idx="709">
                  <c:v>33.29</c:v>
                </c:pt>
                <c:pt idx="710">
                  <c:v>33.200000000000003</c:v>
                </c:pt>
                <c:pt idx="711">
                  <c:v>36.06</c:v>
                </c:pt>
                <c:pt idx="712">
                  <c:v>34.96</c:v>
                </c:pt>
                <c:pt idx="713">
                  <c:v>33.18</c:v>
                </c:pt>
                <c:pt idx="714">
                  <c:v>33.36</c:v>
                </c:pt>
                <c:pt idx="715">
                  <c:v>33.51</c:v>
                </c:pt>
                <c:pt idx="716">
                  <c:v>33.06</c:v>
                </c:pt>
                <c:pt idx="717">
                  <c:v>34.31</c:v>
                </c:pt>
                <c:pt idx="718">
                  <c:v>34.9</c:v>
                </c:pt>
                <c:pt idx="719">
                  <c:v>34.53</c:v>
                </c:pt>
                <c:pt idx="720">
                  <c:v>33.619999999999997</c:v>
                </c:pt>
                <c:pt idx="721">
                  <c:v>33.75</c:v>
                </c:pt>
                <c:pt idx="722">
                  <c:v>32.78</c:v>
                </c:pt>
                <c:pt idx="723">
                  <c:v>32.86</c:v>
                </c:pt>
                <c:pt idx="724">
                  <c:v>32.700000000000003</c:v>
                </c:pt>
                <c:pt idx="725">
                  <c:v>33.14</c:v>
                </c:pt>
                <c:pt idx="726">
                  <c:v>32.590000000000003</c:v>
                </c:pt>
                <c:pt idx="727">
                  <c:v>32.619999999999997</c:v>
                </c:pt>
                <c:pt idx="728">
                  <c:v>33.020000000000003</c:v>
                </c:pt>
                <c:pt idx="729">
                  <c:v>33.44</c:v>
                </c:pt>
                <c:pt idx="730">
                  <c:v>32.92</c:v>
                </c:pt>
                <c:pt idx="731">
                  <c:v>33.869999999999997</c:v>
                </c:pt>
                <c:pt idx="732">
                  <c:v>34.049999999999997</c:v>
                </c:pt>
                <c:pt idx="733">
                  <c:v>34.299999999999997</c:v>
                </c:pt>
                <c:pt idx="734">
                  <c:v>34.72</c:v>
                </c:pt>
                <c:pt idx="735">
                  <c:v>35.54</c:v>
                </c:pt>
                <c:pt idx="736">
                  <c:v>34.840000000000003</c:v>
                </c:pt>
                <c:pt idx="737">
                  <c:v>35.619999999999997</c:v>
                </c:pt>
                <c:pt idx="738">
                  <c:v>35.979999999999997</c:v>
                </c:pt>
                <c:pt idx="739">
                  <c:v>35.54</c:v>
                </c:pt>
                <c:pt idx="740">
                  <c:v>36.06</c:v>
                </c:pt>
                <c:pt idx="742">
                  <c:v>36.06</c:v>
                </c:pt>
                <c:pt idx="743">
                  <c:v>36.24</c:v>
                </c:pt>
                <c:pt idx="744">
                  <c:v>34.020000000000003</c:v>
                </c:pt>
                <c:pt idx="745">
                  <c:v>34.58</c:v>
                </c:pt>
                <c:pt idx="746">
                  <c:v>33.61</c:v>
                </c:pt>
                <c:pt idx="747">
                  <c:v>32.06</c:v>
                </c:pt>
                <c:pt idx="748">
                  <c:v>31.28</c:v>
                </c:pt>
                <c:pt idx="749">
                  <c:v>29.25</c:v>
                </c:pt>
                <c:pt idx="750">
                  <c:v>30.24</c:v>
                </c:pt>
                <c:pt idx="751">
                  <c:v>29.36</c:v>
                </c:pt>
                <c:pt idx="752">
                  <c:v>28.31</c:v>
                </c:pt>
                <c:pt idx="753">
                  <c:v>29.75</c:v>
                </c:pt>
                <c:pt idx="754">
                  <c:v>29.81</c:v>
                </c:pt>
                <c:pt idx="755">
                  <c:v>28.75</c:v>
                </c:pt>
                <c:pt idx="756">
                  <c:v>28.06</c:v>
                </c:pt>
                <c:pt idx="757">
                  <c:v>28.86</c:v>
                </c:pt>
                <c:pt idx="758">
                  <c:v>29.52</c:v>
                </c:pt>
                <c:pt idx="759">
                  <c:v>29.34</c:v>
                </c:pt>
                <c:pt idx="760">
                  <c:v>25.83</c:v>
                </c:pt>
                <c:pt idx="761">
                  <c:v>26.06</c:v>
                </c:pt>
                <c:pt idx="762">
                  <c:v>26.16</c:v>
                </c:pt>
                <c:pt idx="763">
                  <c:v>27</c:v>
                </c:pt>
                <c:pt idx="764">
                  <c:v>26.55</c:v>
                </c:pt>
                <c:pt idx="765">
                  <c:v>25.82</c:v>
                </c:pt>
                <c:pt idx="766">
                  <c:v>26.72</c:v>
                </c:pt>
                <c:pt idx="767">
                  <c:v>27.29</c:v>
                </c:pt>
                <c:pt idx="768">
                  <c:v>27.93</c:v>
                </c:pt>
                <c:pt idx="769">
                  <c:v>27.95</c:v>
                </c:pt>
                <c:pt idx="770">
                  <c:v>28.02</c:v>
                </c:pt>
                <c:pt idx="771">
                  <c:v>27.44</c:v>
                </c:pt>
                <c:pt idx="772">
                  <c:v>27.72</c:v>
                </c:pt>
                <c:pt idx="773">
                  <c:v>29.42</c:v>
                </c:pt>
                <c:pt idx="774">
                  <c:v>29.42</c:v>
                </c:pt>
                <c:pt idx="775">
                  <c:v>30.07</c:v>
                </c:pt>
                <c:pt idx="777">
                  <c:v>30.19</c:v>
                </c:pt>
                <c:pt idx="778">
                  <c:v>29.77</c:v>
                </c:pt>
                <c:pt idx="779">
                  <c:v>30.42</c:v>
                </c:pt>
                <c:pt idx="780">
                  <c:v>32.119999999999997</c:v>
                </c:pt>
                <c:pt idx="781">
                  <c:v>32.21</c:v>
                </c:pt>
                <c:pt idx="782">
                  <c:v>31.66</c:v>
                </c:pt>
                <c:pt idx="783">
                  <c:v>31.46</c:v>
                </c:pt>
                <c:pt idx="784">
                  <c:v>31.61</c:v>
                </c:pt>
                <c:pt idx="785">
                  <c:v>29.79</c:v>
                </c:pt>
                <c:pt idx="786">
                  <c:v>29.07</c:v>
                </c:pt>
                <c:pt idx="787">
                  <c:v>29.12</c:v>
                </c:pt>
                <c:pt idx="788">
                  <c:v>28.62</c:v>
                </c:pt>
                <c:pt idx="789">
                  <c:v>29.88</c:v>
                </c:pt>
                <c:pt idx="790">
                  <c:v>31.27</c:v>
                </c:pt>
                <c:pt idx="791">
                  <c:v>30.55</c:v>
                </c:pt>
                <c:pt idx="792">
                  <c:v>30.27</c:v>
                </c:pt>
                <c:pt idx="793">
                  <c:v>31.27</c:v>
                </c:pt>
                <c:pt idx="794">
                  <c:v>31.57</c:v>
                </c:pt>
                <c:pt idx="795">
                  <c:v>30.93</c:v>
                </c:pt>
                <c:pt idx="796">
                  <c:v>30.52</c:v>
                </c:pt>
                <c:pt idx="797">
                  <c:v>30.12</c:v>
                </c:pt>
                <c:pt idx="798">
                  <c:v>29.55</c:v>
                </c:pt>
                <c:pt idx="799">
                  <c:v>28.96</c:v>
                </c:pt>
                <c:pt idx="800">
                  <c:v>29.22</c:v>
                </c:pt>
                <c:pt idx="802">
                  <c:v>28.6</c:v>
                </c:pt>
                <c:pt idx="803">
                  <c:v>28.64</c:v>
                </c:pt>
                <c:pt idx="804">
                  <c:v>28.52</c:v>
                </c:pt>
                <c:pt idx="805">
                  <c:v>28.83</c:v>
                </c:pt>
                <c:pt idx="806">
                  <c:v>28.27</c:v>
                </c:pt>
                <c:pt idx="807">
                  <c:v>28.26</c:v>
                </c:pt>
                <c:pt idx="808">
                  <c:v>27.35</c:v>
                </c:pt>
                <c:pt idx="809">
                  <c:v>27.78</c:v>
                </c:pt>
                <c:pt idx="810">
                  <c:v>27.89</c:v>
                </c:pt>
                <c:pt idx="811">
                  <c:v>28.61</c:v>
                </c:pt>
                <c:pt idx="812">
                  <c:v>28.4</c:v>
                </c:pt>
                <c:pt idx="813">
                  <c:v>28.95</c:v>
                </c:pt>
                <c:pt idx="814">
                  <c:v>28.31</c:v>
                </c:pt>
                <c:pt idx="815">
                  <c:v>27.97</c:v>
                </c:pt>
                <c:pt idx="816">
                  <c:v>27.91</c:v>
                </c:pt>
                <c:pt idx="817">
                  <c:v>27.45</c:v>
                </c:pt>
                <c:pt idx="818">
                  <c:v>26.49</c:v>
                </c:pt>
                <c:pt idx="819">
                  <c:v>26.56</c:v>
                </c:pt>
                <c:pt idx="820">
                  <c:v>26.68</c:v>
                </c:pt>
                <c:pt idx="821">
                  <c:v>26.17</c:v>
                </c:pt>
                <c:pt idx="822">
                  <c:v>25.99</c:v>
                </c:pt>
                <c:pt idx="823">
                  <c:v>26.43</c:v>
                </c:pt>
                <c:pt idx="824">
                  <c:v>26.19</c:v>
                </c:pt>
                <c:pt idx="825">
                  <c:v>27.31</c:v>
                </c:pt>
                <c:pt idx="826">
                  <c:v>27.4</c:v>
                </c:pt>
                <c:pt idx="827">
                  <c:v>27.62</c:v>
                </c:pt>
                <c:pt idx="828">
                  <c:v>26.43</c:v>
                </c:pt>
                <c:pt idx="829">
                  <c:v>26.47</c:v>
                </c:pt>
                <c:pt idx="830">
                  <c:v>26.37</c:v>
                </c:pt>
                <c:pt idx="831">
                  <c:v>25.7</c:v>
                </c:pt>
                <c:pt idx="832">
                  <c:v>26.65</c:v>
                </c:pt>
                <c:pt idx="833">
                  <c:v>27.16</c:v>
                </c:pt>
                <c:pt idx="834">
                  <c:v>27.24</c:v>
                </c:pt>
                <c:pt idx="835">
                  <c:v>27.07</c:v>
                </c:pt>
                <c:pt idx="836">
                  <c:v>27.45</c:v>
                </c:pt>
                <c:pt idx="837">
                  <c:v>28.47</c:v>
                </c:pt>
                <c:pt idx="838">
                  <c:v>28.42</c:v>
                </c:pt>
                <c:pt idx="839">
                  <c:v>28.75</c:v>
                </c:pt>
                <c:pt idx="841">
                  <c:v>28.81</c:v>
                </c:pt>
                <c:pt idx="842">
                  <c:v>27.89</c:v>
                </c:pt>
                <c:pt idx="843">
                  <c:v>27.83</c:v>
                </c:pt>
                <c:pt idx="844">
                  <c:v>27.92</c:v>
                </c:pt>
                <c:pt idx="845">
                  <c:v>27</c:v>
                </c:pt>
                <c:pt idx="846">
                  <c:v>26.97</c:v>
                </c:pt>
                <c:pt idx="847">
                  <c:v>25.24</c:v>
                </c:pt>
                <c:pt idx="848">
                  <c:v>25.93</c:v>
                </c:pt>
                <c:pt idx="849">
                  <c:v>28.47</c:v>
                </c:pt>
                <c:pt idx="850">
                  <c:v>28.35</c:v>
                </c:pt>
                <c:pt idx="851">
                  <c:v>28.48</c:v>
                </c:pt>
                <c:pt idx="852">
                  <c:v>28.37</c:v>
                </c:pt>
                <c:pt idx="853">
                  <c:v>27.89</c:v>
                </c:pt>
                <c:pt idx="854">
                  <c:v>28.66</c:v>
                </c:pt>
                <c:pt idx="855">
                  <c:v>28.41</c:v>
                </c:pt>
                <c:pt idx="856">
                  <c:v>27.79</c:v>
                </c:pt>
                <c:pt idx="857">
                  <c:v>27.35</c:v>
                </c:pt>
                <c:pt idx="858">
                  <c:v>28.39</c:v>
                </c:pt>
                <c:pt idx="859">
                  <c:v>28.5</c:v>
                </c:pt>
                <c:pt idx="860">
                  <c:v>28.59</c:v>
                </c:pt>
                <c:pt idx="861">
                  <c:v>28.83</c:v>
                </c:pt>
                <c:pt idx="862">
                  <c:v>28.9</c:v>
                </c:pt>
                <c:pt idx="863">
                  <c:v>28.77</c:v>
                </c:pt>
                <c:pt idx="864">
                  <c:v>29.02</c:v>
                </c:pt>
                <c:pt idx="865">
                  <c:v>29.9</c:v>
                </c:pt>
                <c:pt idx="866">
                  <c:v>29.96</c:v>
                </c:pt>
                <c:pt idx="867">
                  <c:v>29.75</c:v>
                </c:pt>
                <c:pt idx="868">
                  <c:v>28.85</c:v>
                </c:pt>
                <c:pt idx="869">
                  <c:v>27.97</c:v>
                </c:pt>
                <c:pt idx="870">
                  <c:v>28.08</c:v>
                </c:pt>
                <c:pt idx="871">
                  <c:v>28.76</c:v>
                </c:pt>
                <c:pt idx="872">
                  <c:v>28.71</c:v>
                </c:pt>
                <c:pt idx="873">
                  <c:v>28.39</c:v>
                </c:pt>
                <c:pt idx="874">
                  <c:v>27.88</c:v>
                </c:pt>
                <c:pt idx="875">
                  <c:v>28.14</c:v>
                </c:pt>
                <c:pt idx="876">
                  <c:v>27.84</c:v>
                </c:pt>
                <c:pt idx="877">
                  <c:v>27.56</c:v>
                </c:pt>
                <c:pt idx="878">
                  <c:v>27.91</c:v>
                </c:pt>
                <c:pt idx="879">
                  <c:v>28.43</c:v>
                </c:pt>
                <c:pt idx="880">
                  <c:v>28.94</c:v>
                </c:pt>
                <c:pt idx="881">
                  <c:v>29.13</c:v>
                </c:pt>
                <c:pt idx="882">
                  <c:v>28.81</c:v>
                </c:pt>
                <c:pt idx="883">
                  <c:v>29.12</c:v>
                </c:pt>
                <c:pt idx="884">
                  <c:v>28.52</c:v>
                </c:pt>
                <c:pt idx="885">
                  <c:v>27.55</c:v>
                </c:pt>
                <c:pt idx="886">
                  <c:v>27.49</c:v>
                </c:pt>
                <c:pt idx="887">
                  <c:v>26.52</c:v>
                </c:pt>
                <c:pt idx="888">
                  <c:v>26.85</c:v>
                </c:pt>
                <c:pt idx="889">
                  <c:v>27.02</c:v>
                </c:pt>
                <c:pt idx="890">
                  <c:v>27.11</c:v>
                </c:pt>
                <c:pt idx="891">
                  <c:v>26.97</c:v>
                </c:pt>
                <c:pt idx="892">
                  <c:v>25.67</c:v>
                </c:pt>
                <c:pt idx="893">
                  <c:v>25.75</c:v>
                </c:pt>
                <c:pt idx="894">
                  <c:v>26.37</c:v>
                </c:pt>
                <c:pt idx="895">
                  <c:v>26.02</c:v>
                </c:pt>
                <c:pt idx="896">
                  <c:v>26.28</c:v>
                </c:pt>
                <c:pt idx="898">
                  <c:v>27.07</c:v>
                </c:pt>
                <c:pt idx="899">
                  <c:v>28.1</c:v>
                </c:pt>
                <c:pt idx="900">
                  <c:v>27.63</c:v>
                </c:pt>
                <c:pt idx="901">
                  <c:v>27.22</c:v>
                </c:pt>
                <c:pt idx="902">
                  <c:v>27.07</c:v>
                </c:pt>
                <c:pt idx="903">
                  <c:v>26.85</c:v>
                </c:pt>
                <c:pt idx="904">
                  <c:v>26.57</c:v>
                </c:pt>
                <c:pt idx="905">
                  <c:v>26.02</c:v>
                </c:pt>
                <c:pt idx="906">
                  <c:v>25.33</c:v>
                </c:pt>
                <c:pt idx="907">
                  <c:v>24.65</c:v>
                </c:pt>
                <c:pt idx="908">
                  <c:v>24.65</c:v>
                </c:pt>
                <c:pt idx="909">
                  <c:v>25.67</c:v>
                </c:pt>
                <c:pt idx="910">
                  <c:v>25.88</c:v>
                </c:pt>
                <c:pt idx="911">
                  <c:v>26.18</c:v>
                </c:pt>
                <c:pt idx="912">
                  <c:v>26.71</c:v>
                </c:pt>
                <c:pt idx="913">
                  <c:v>26.74</c:v>
                </c:pt>
                <c:pt idx="914">
                  <c:v>26.98</c:v>
                </c:pt>
                <c:pt idx="915">
                  <c:v>26.6</c:v>
                </c:pt>
                <c:pt idx="916">
                  <c:v>26.7</c:v>
                </c:pt>
                <c:pt idx="917">
                  <c:v>26.83</c:v>
                </c:pt>
                <c:pt idx="918">
                  <c:v>27.86</c:v>
                </c:pt>
                <c:pt idx="919">
                  <c:v>27.51</c:v>
                </c:pt>
                <c:pt idx="920">
                  <c:v>27.7</c:v>
                </c:pt>
                <c:pt idx="921">
                  <c:v>28.17</c:v>
                </c:pt>
                <c:pt idx="922">
                  <c:v>27.62</c:v>
                </c:pt>
                <c:pt idx="923">
                  <c:v>27.72</c:v>
                </c:pt>
                <c:pt idx="924">
                  <c:v>28.12</c:v>
                </c:pt>
                <c:pt idx="925">
                  <c:v>27.85</c:v>
                </c:pt>
                <c:pt idx="926">
                  <c:v>28.1</c:v>
                </c:pt>
                <c:pt idx="927">
                  <c:v>27.51</c:v>
                </c:pt>
                <c:pt idx="928">
                  <c:v>27.47</c:v>
                </c:pt>
                <c:pt idx="929">
                  <c:v>26.65</c:v>
                </c:pt>
                <c:pt idx="930">
                  <c:v>27.2</c:v>
                </c:pt>
                <c:pt idx="931">
                  <c:v>27.93</c:v>
                </c:pt>
                <c:pt idx="932">
                  <c:v>27.17</c:v>
                </c:pt>
                <c:pt idx="933">
                  <c:v>25.63</c:v>
                </c:pt>
                <c:pt idx="934">
                  <c:v>28.34</c:v>
                </c:pt>
                <c:pt idx="935">
                  <c:v>26.69</c:v>
                </c:pt>
                <c:pt idx="936">
                  <c:v>27.16</c:v>
                </c:pt>
                <c:pt idx="937">
                  <c:v>27.07</c:v>
                </c:pt>
                <c:pt idx="938">
                  <c:v>26.65</c:v>
                </c:pt>
                <c:pt idx="939">
                  <c:v>26.65</c:v>
                </c:pt>
                <c:pt idx="941">
                  <c:v>26.94</c:v>
                </c:pt>
                <c:pt idx="942">
                  <c:v>27.03</c:v>
                </c:pt>
                <c:pt idx="943">
                  <c:v>27.54</c:v>
                </c:pt>
                <c:pt idx="944">
                  <c:v>27.99</c:v>
                </c:pt>
                <c:pt idx="945">
                  <c:v>27.66</c:v>
                </c:pt>
                <c:pt idx="946">
                  <c:v>27.65</c:v>
                </c:pt>
                <c:pt idx="947">
                  <c:v>27.64</c:v>
                </c:pt>
                <c:pt idx="948">
                  <c:v>28.58</c:v>
                </c:pt>
                <c:pt idx="949">
                  <c:v>29.59</c:v>
                </c:pt>
                <c:pt idx="950">
                  <c:v>28.84</c:v>
                </c:pt>
                <c:pt idx="951">
                  <c:v>27.81</c:v>
                </c:pt>
                <c:pt idx="952">
                  <c:v>26.73</c:v>
                </c:pt>
                <c:pt idx="953">
                  <c:v>26.6</c:v>
                </c:pt>
                <c:pt idx="954">
                  <c:v>25.46</c:v>
                </c:pt>
                <c:pt idx="955">
                  <c:v>21.46</c:v>
                </c:pt>
                <c:pt idx="956">
                  <c:v>21.63</c:v>
                </c:pt>
                <c:pt idx="957">
                  <c:v>22.4</c:v>
                </c:pt>
                <c:pt idx="958">
                  <c:v>22.8</c:v>
                </c:pt>
                <c:pt idx="959">
                  <c:v>23.44</c:v>
                </c:pt>
                <c:pt idx="960">
                  <c:v>23.12</c:v>
                </c:pt>
                <c:pt idx="961">
                  <c:v>22.7</c:v>
                </c:pt>
                <c:pt idx="962">
                  <c:v>22.17</c:v>
                </c:pt>
                <c:pt idx="963">
                  <c:v>22.7</c:v>
                </c:pt>
                <c:pt idx="964">
                  <c:v>22.32</c:v>
                </c:pt>
                <c:pt idx="965">
                  <c:v>22.25</c:v>
                </c:pt>
                <c:pt idx="966">
                  <c:v>22.55</c:v>
                </c:pt>
                <c:pt idx="967">
                  <c:v>22.51</c:v>
                </c:pt>
                <c:pt idx="968">
                  <c:v>23.49</c:v>
                </c:pt>
                <c:pt idx="969">
                  <c:v>22.49</c:v>
                </c:pt>
                <c:pt idx="970">
                  <c:v>22.37</c:v>
                </c:pt>
                <c:pt idx="971">
                  <c:v>22.01</c:v>
                </c:pt>
                <c:pt idx="972">
                  <c:v>21.89</c:v>
                </c:pt>
                <c:pt idx="973">
                  <c:v>21.33</c:v>
                </c:pt>
                <c:pt idx="974">
                  <c:v>21.99</c:v>
                </c:pt>
                <c:pt idx="975">
                  <c:v>21.78</c:v>
                </c:pt>
                <c:pt idx="976">
                  <c:v>21.28</c:v>
                </c:pt>
                <c:pt idx="977">
                  <c:v>22</c:v>
                </c:pt>
                <c:pt idx="978">
                  <c:v>21.75</c:v>
                </c:pt>
                <c:pt idx="979">
                  <c:v>22.07</c:v>
                </c:pt>
                <c:pt idx="980">
                  <c:v>22.1</c:v>
                </c:pt>
                <c:pt idx="981">
                  <c:v>21.83</c:v>
                </c:pt>
                <c:pt idx="982">
                  <c:v>21.2</c:v>
                </c:pt>
                <c:pt idx="983">
                  <c:v>20.47</c:v>
                </c:pt>
                <c:pt idx="984">
                  <c:v>20.239999999999998</c:v>
                </c:pt>
                <c:pt idx="985">
                  <c:v>20</c:v>
                </c:pt>
                <c:pt idx="986">
                  <c:v>19.93</c:v>
                </c:pt>
                <c:pt idx="987">
                  <c:v>20.11</c:v>
                </c:pt>
                <c:pt idx="988">
                  <c:v>21.21</c:v>
                </c:pt>
                <c:pt idx="989">
                  <c:v>22.23</c:v>
                </c:pt>
                <c:pt idx="990">
                  <c:v>21.26</c:v>
                </c:pt>
                <c:pt idx="991">
                  <c:v>21.56</c:v>
                </c:pt>
                <c:pt idx="992">
                  <c:v>19.63</c:v>
                </c:pt>
                <c:pt idx="993">
                  <c:v>17.5</c:v>
                </c:pt>
                <c:pt idx="994">
                  <c:v>18.09</c:v>
                </c:pt>
                <c:pt idx="995">
                  <c:v>17.739999999999998</c:v>
                </c:pt>
                <c:pt idx="996">
                  <c:v>18.71</c:v>
                </c:pt>
                <c:pt idx="997">
                  <c:v>18.38</c:v>
                </c:pt>
                <c:pt idx="1000">
                  <c:v>18.690000000000001</c:v>
                </c:pt>
                <c:pt idx="1001">
                  <c:v>19.57</c:v>
                </c:pt>
                <c:pt idx="1002">
                  <c:v>19.37</c:v>
                </c:pt>
                <c:pt idx="1003">
                  <c:v>18.55</c:v>
                </c:pt>
                <c:pt idx="1004">
                  <c:v>19.46</c:v>
                </c:pt>
                <c:pt idx="1005">
                  <c:v>20.27</c:v>
                </c:pt>
                <c:pt idx="1006">
                  <c:v>19.71</c:v>
                </c:pt>
                <c:pt idx="1007">
                  <c:v>19.62</c:v>
                </c:pt>
                <c:pt idx="1008">
                  <c:v>18.690000000000001</c:v>
                </c:pt>
                <c:pt idx="1009">
                  <c:v>19.079999999999998</c:v>
                </c:pt>
                <c:pt idx="1010">
                  <c:v>18.32</c:v>
                </c:pt>
                <c:pt idx="1011">
                  <c:v>18.04</c:v>
                </c:pt>
                <c:pt idx="1012">
                  <c:v>18.38</c:v>
                </c:pt>
                <c:pt idx="1013">
                  <c:v>18.2</c:v>
                </c:pt>
                <c:pt idx="1014">
                  <c:v>19.309999999999999</c:v>
                </c:pt>
                <c:pt idx="1015">
                  <c:v>19.28</c:v>
                </c:pt>
                <c:pt idx="1016">
                  <c:v>19.38</c:v>
                </c:pt>
                <c:pt idx="1017">
                  <c:v>19.37</c:v>
                </c:pt>
                <c:pt idx="1018">
                  <c:v>18.670000000000002</c:v>
                </c:pt>
                <c:pt idx="1019">
                  <c:v>19.3</c:v>
                </c:pt>
                <c:pt idx="1021">
                  <c:v>21.32</c:v>
                </c:pt>
                <c:pt idx="1022">
                  <c:v>21.07</c:v>
                </c:pt>
                <c:pt idx="1023">
                  <c:v>20.420000000000002</c:v>
                </c:pt>
                <c:pt idx="1024">
                  <c:v>19.96</c:v>
                </c:pt>
                <c:pt idx="1025">
                  <c:v>21.13</c:v>
                </c:pt>
                <c:pt idx="1026">
                  <c:v>20.65</c:v>
                </c:pt>
                <c:pt idx="1027">
                  <c:v>21.47</c:v>
                </c:pt>
                <c:pt idx="1028">
                  <c:v>21.42</c:v>
                </c:pt>
                <c:pt idx="1029">
                  <c:v>20.82</c:v>
                </c:pt>
                <c:pt idx="1030">
                  <c:v>20.32</c:v>
                </c:pt>
                <c:pt idx="1031">
                  <c:v>20.48</c:v>
                </c:pt>
                <c:pt idx="1032">
                  <c:v>19.670000000000002</c:v>
                </c:pt>
                <c:pt idx="1033">
                  <c:v>18.88</c:v>
                </c:pt>
                <c:pt idx="1034">
                  <c:v>18.989999999999998</c:v>
                </c:pt>
                <c:pt idx="1035">
                  <c:v>18.96</c:v>
                </c:pt>
                <c:pt idx="1036">
                  <c:v>18.2</c:v>
                </c:pt>
                <c:pt idx="1037">
                  <c:v>18.02</c:v>
                </c:pt>
                <c:pt idx="1039">
                  <c:v>18.36</c:v>
                </c:pt>
                <c:pt idx="1040">
                  <c:v>19.100000000000001</c:v>
                </c:pt>
                <c:pt idx="1041">
                  <c:v>19.57</c:v>
                </c:pt>
                <c:pt idx="1042">
                  <c:v>19.8</c:v>
                </c:pt>
                <c:pt idx="1043">
                  <c:v>20.05</c:v>
                </c:pt>
                <c:pt idx="1044">
                  <c:v>19.3</c:v>
                </c:pt>
                <c:pt idx="1045">
                  <c:v>19.11</c:v>
                </c:pt>
                <c:pt idx="1046">
                  <c:v>19.71</c:v>
                </c:pt>
                <c:pt idx="1047">
                  <c:v>20.399999999999999</c:v>
                </c:pt>
                <c:pt idx="1048">
                  <c:v>20.02</c:v>
                </c:pt>
                <c:pt idx="1049">
                  <c:v>20.059999999999999</c:v>
                </c:pt>
                <c:pt idx="1050">
                  <c:v>19.77</c:v>
                </c:pt>
                <c:pt idx="1051">
                  <c:v>19.75</c:v>
                </c:pt>
                <c:pt idx="1052">
                  <c:v>20.25</c:v>
                </c:pt>
                <c:pt idx="1053">
                  <c:v>21.29</c:v>
                </c:pt>
                <c:pt idx="1054">
                  <c:v>20.76</c:v>
                </c:pt>
                <c:pt idx="1055">
                  <c:v>21.19</c:v>
                </c:pt>
                <c:pt idx="1056">
                  <c:v>21.19</c:v>
                </c:pt>
                <c:pt idx="1057">
                  <c:v>21.47</c:v>
                </c:pt>
                <c:pt idx="1059">
                  <c:v>20.77</c:v>
                </c:pt>
                <c:pt idx="1060">
                  <c:v>20.309999999999999</c:v>
                </c:pt>
                <c:pt idx="1061">
                  <c:v>20.81</c:v>
                </c:pt>
                <c:pt idx="1062">
                  <c:v>20.92</c:v>
                </c:pt>
                <c:pt idx="1063">
                  <c:v>20.239999999999998</c:v>
                </c:pt>
                <c:pt idx="1064">
                  <c:v>21.37</c:v>
                </c:pt>
                <c:pt idx="1065">
                  <c:v>21.4</c:v>
                </c:pt>
                <c:pt idx="1066">
                  <c:v>21.78</c:v>
                </c:pt>
                <c:pt idx="1067">
                  <c:v>22.37</c:v>
                </c:pt>
                <c:pt idx="1068">
                  <c:v>22.55</c:v>
                </c:pt>
                <c:pt idx="1069">
                  <c:v>23.18</c:v>
                </c:pt>
                <c:pt idx="1070">
                  <c:v>23.32</c:v>
                </c:pt>
                <c:pt idx="1071">
                  <c:v>23.62</c:v>
                </c:pt>
                <c:pt idx="1072">
                  <c:v>23.87</c:v>
                </c:pt>
                <c:pt idx="1073">
                  <c:v>24.36</c:v>
                </c:pt>
                <c:pt idx="1074">
                  <c:v>24.55</c:v>
                </c:pt>
                <c:pt idx="1075">
                  <c:v>24.14</c:v>
                </c:pt>
                <c:pt idx="1076">
                  <c:v>24.48</c:v>
                </c:pt>
                <c:pt idx="1077">
                  <c:v>24.47</c:v>
                </c:pt>
                <c:pt idx="1078">
                  <c:v>25.03</c:v>
                </c:pt>
                <c:pt idx="1079">
                  <c:v>25.02</c:v>
                </c:pt>
                <c:pt idx="1080">
                  <c:v>24.92</c:v>
                </c:pt>
                <c:pt idx="1081">
                  <c:v>25.74</c:v>
                </c:pt>
                <c:pt idx="1082">
                  <c:v>25.56</c:v>
                </c:pt>
                <c:pt idx="1083">
                  <c:v>25.69</c:v>
                </c:pt>
                <c:pt idx="1084">
                  <c:v>25.75</c:v>
                </c:pt>
                <c:pt idx="1085">
                  <c:v>25.79</c:v>
                </c:pt>
                <c:pt idx="1086">
                  <c:v>26.21</c:v>
                </c:pt>
                <c:pt idx="1088">
                  <c:v>26.82</c:v>
                </c:pt>
                <c:pt idx="1089">
                  <c:v>27.75</c:v>
                </c:pt>
                <c:pt idx="1090">
                  <c:v>27.55</c:v>
                </c:pt>
                <c:pt idx="1091">
                  <c:v>26.64</c:v>
                </c:pt>
                <c:pt idx="1092">
                  <c:v>26.21</c:v>
                </c:pt>
                <c:pt idx="1093">
                  <c:v>26.16</c:v>
                </c:pt>
                <c:pt idx="1094">
                  <c:v>25.45</c:v>
                </c:pt>
                <c:pt idx="1095">
                  <c:v>26.15</c:v>
                </c:pt>
                <c:pt idx="1096">
                  <c:v>24.93</c:v>
                </c:pt>
                <c:pt idx="1097">
                  <c:v>23.51</c:v>
                </c:pt>
                <c:pt idx="1098">
                  <c:v>24.53</c:v>
                </c:pt>
                <c:pt idx="1099">
                  <c:v>24.92</c:v>
                </c:pt>
                <c:pt idx="1100">
                  <c:v>25.94</c:v>
                </c:pt>
                <c:pt idx="1101">
                  <c:v>25.86</c:v>
                </c:pt>
                <c:pt idx="1102">
                  <c:v>26.43</c:v>
                </c:pt>
                <c:pt idx="1103">
                  <c:v>26.28</c:v>
                </c:pt>
                <c:pt idx="1104">
                  <c:v>26.28</c:v>
                </c:pt>
                <c:pt idx="1105">
                  <c:v>26.28</c:v>
                </c:pt>
                <c:pt idx="1106">
                  <c:v>26.36</c:v>
                </c:pt>
                <c:pt idx="1107">
                  <c:v>27.12</c:v>
                </c:pt>
                <c:pt idx="1108">
                  <c:v>27.45</c:v>
                </c:pt>
                <c:pt idx="1109">
                  <c:v>27.32</c:v>
                </c:pt>
                <c:pt idx="1110">
                  <c:v>26.58</c:v>
                </c:pt>
                <c:pt idx="1111">
                  <c:v>26.31</c:v>
                </c:pt>
                <c:pt idx="1112">
                  <c:v>26.75</c:v>
                </c:pt>
                <c:pt idx="1113">
                  <c:v>26.11</c:v>
                </c:pt>
                <c:pt idx="1114">
                  <c:v>26.79</c:v>
                </c:pt>
                <c:pt idx="1115">
                  <c:v>27.76</c:v>
                </c:pt>
                <c:pt idx="1116">
                  <c:v>27.78</c:v>
                </c:pt>
                <c:pt idx="1117">
                  <c:v>27.92</c:v>
                </c:pt>
                <c:pt idx="1118">
                  <c:v>28.62</c:v>
                </c:pt>
                <c:pt idx="1119">
                  <c:v>29.17</c:v>
                </c:pt>
                <c:pt idx="1120">
                  <c:v>28.17</c:v>
                </c:pt>
                <c:pt idx="1121">
                  <c:v>28</c:v>
                </c:pt>
                <c:pt idx="1122">
                  <c:v>28.19</c:v>
                </c:pt>
                <c:pt idx="1123">
                  <c:v>28.24</c:v>
                </c:pt>
                <c:pt idx="1124">
                  <c:v>27.35</c:v>
                </c:pt>
                <c:pt idx="1125">
                  <c:v>27.01</c:v>
                </c:pt>
                <c:pt idx="1126">
                  <c:v>26.6</c:v>
                </c:pt>
                <c:pt idx="1127">
                  <c:v>26.69</c:v>
                </c:pt>
                <c:pt idx="1129">
                  <c:v>25.08</c:v>
                </c:pt>
                <c:pt idx="1130">
                  <c:v>25.64</c:v>
                </c:pt>
                <c:pt idx="1131">
                  <c:v>24.78</c:v>
                </c:pt>
                <c:pt idx="1132">
                  <c:v>25.37</c:v>
                </c:pt>
                <c:pt idx="1133">
                  <c:v>25.1</c:v>
                </c:pt>
                <c:pt idx="1134">
                  <c:v>25.32</c:v>
                </c:pt>
                <c:pt idx="1135">
                  <c:v>25.02</c:v>
                </c:pt>
                <c:pt idx="1136">
                  <c:v>24.89</c:v>
                </c:pt>
                <c:pt idx="1137">
                  <c:v>24.72</c:v>
                </c:pt>
                <c:pt idx="1138">
                  <c:v>24.24</c:v>
                </c:pt>
                <c:pt idx="1139">
                  <c:v>24.21</c:v>
                </c:pt>
                <c:pt idx="1140">
                  <c:v>24.79</c:v>
                </c:pt>
                <c:pt idx="1141">
                  <c:v>25.54</c:v>
                </c:pt>
                <c:pt idx="1142">
                  <c:v>25.9</c:v>
                </c:pt>
                <c:pt idx="1143">
                  <c:v>25.98</c:v>
                </c:pt>
                <c:pt idx="1144">
                  <c:v>25.36</c:v>
                </c:pt>
                <c:pt idx="1145">
                  <c:v>25.57</c:v>
                </c:pt>
                <c:pt idx="1146">
                  <c:v>25.62</c:v>
                </c:pt>
                <c:pt idx="1147">
                  <c:v>25.51</c:v>
                </c:pt>
                <c:pt idx="1148">
                  <c:v>26.31</c:v>
                </c:pt>
                <c:pt idx="1149">
                  <c:v>26.06</c:v>
                </c:pt>
                <c:pt idx="1150">
                  <c:v>26.67</c:v>
                </c:pt>
                <c:pt idx="1151">
                  <c:v>26.77</c:v>
                </c:pt>
                <c:pt idx="1152">
                  <c:v>26.79</c:v>
                </c:pt>
                <c:pt idx="1153">
                  <c:v>26.79</c:v>
                </c:pt>
                <c:pt idx="1154">
                  <c:v>26.83</c:v>
                </c:pt>
                <c:pt idx="1155">
                  <c:v>26.82</c:v>
                </c:pt>
                <c:pt idx="1158">
                  <c:v>26.14</c:v>
                </c:pt>
                <c:pt idx="1159">
                  <c:v>26.16</c:v>
                </c:pt>
                <c:pt idx="1160">
                  <c:v>26.73</c:v>
                </c:pt>
                <c:pt idx="1161">
                  <c:v>27.01</c:v>
                </c:pt>
                <c:pt idx="1162">
                  <c:v>27.48</c:v>
                </c:pt>
                <c:pt idx="1163">
                  <c:v>27.23</c:v>
                </c:pt>
                <c:pt idx="1164">
                  <c:v>27.68</c:v>
                </c:pt>
                <c:pt idx="1165">
                  <c:v>27.88</c:v>
                </c:pt>
                <c:pt idx="1166">
                  <c:v>27.5</c:v>
                </c:pt>
                <c:pt idx="1167">
                  <c:v>27.83</c:v>
                </c:pt>
                <c:pt idx="1168">
                  <c:v>26.61</c:v>
                </c:pt>
                <c:pt idx="1169">
                  <c:v>26.61</c:v>
                </c:pt>
                <c:pt idx="1170">
                  <c:v>26.78</c:v>
                </c:pt>
                <c:pt idx="1171">
                  <c:v>26.67</c:v>
                </c:pt>
                <c:pt idx="1172">
                  <c:v>26.55</c:v>
                </c:pt>
                <c:pt idx="1173">
                  <c:v>26.54</c:v>
                </c:pt>
                <c:pt idx="1174">
                  <c:v>27.43</c:v>
                </c:pt>
                <c:pt idx="1175">
                  <c:v>27.02</c:v>
                </c:pt>
                <c:pt idx="1176">
                  <c:v>26.51</c:v>
                </c:pt>
                <c:pt idx="1177">
                  <c:v>26.87</c:v>
                </c:pt>
                <c:pt idx="1178">
                  <c:v>26.55</c:v>
                </c:pt>
                <c:pt idx="1179">
                  <c:v>27.18</c:v>
                </c:pt>
                <c:pt idx="1180">
                  <c:v>26.58</c:v>
                </c:pt>
                <c:pt idx="1181">
                  <c:v>26.67</c:v>
                </c:pt>
                <c:pt idx="1182">
                  <c:v>26.87</c:v>
                </c:pt>
                <c:pt idx="1183">
                  <c:v>27.84</c:v>
                </c:pt>
                <c:pt idx="1184">
                  <c:v>28.35</c:v>
                </c:pt>
                <c:pt idx="1185">
                  <c:v>28.19</c:v>
                </c:pt>
                <c:pt idx="1186">
                  <c:v>28.99</c:v>
                </c:pt>
                <c:pt idx="1187">
                  <c:v>29.24</c:v>
                </c:pt>
                <c:pt idx="1188">
                  <c:v>29.86</c:v>
                </c:pt>
                <c:pt idx="1189">
                  <c:v>30.12</c:v>
                </c:pt>
                <c:pt idx="1190">
                  <c:v>30.37</c:v>
                </c:pt>
                <c:pt idx="1191">
                  <c:v>30.11</c:v>
                </c:pt>
                <c:pt idx="1192">
                  <c:v>29.99</c:v>
                </c:pt>
                <c:pt idx="1193">
                  <c:v>29.23</c:v>
                </c:pt>
                <c:pt idx="1194">
                  <c:v>28.84</c:v>
                </c:pt>
                <c:pt idx="1195">
                  <c:v>28.31</c:v>
                </c:pt>
                <c:pt idx="1196">
                  <c:v>28.83</c:v>
                </c:pt>
                <c:pt idx="1197">
                  <c:v>28.97</c:v>
                </c:pt>
                <c:pt idx="1199">
                  <c:v>27.76</c:v>
                </c:pt>
                <c:pt idx="1200">
                  <c:v>28.28</c:v>
                </c:pt>
                <c:pt idx="1201">
                  <c:v>29.06</c:v>
                </c:pt>
                <c:pt idx="1202">
                  <c:v>29.51</c:v>
                </c:pt>
                <c:pt idx="1203">
                  <c:v>29.8</c:v>
                </c:pt>
                <c:pt idx="1204">
                  <c:v>29.62</c:v>
                </c:pt>
                <c:pt idx="1205">
                  <c:v>29.77</c:v>
                </c:pt>
                <c:pt idx="1206">
                  <c:v>28.95</c:v>
                </c:pt>
                <c:pt idx="1207">
                  <c:v>29.83</c:v>
                </c:pt>
                <c:pt idx="1208">
                  <c:v>29.14</c:v>
                </c:pt>
                <c:pt idx="1209">
                  <c:v>29.08</c:v>
                </c:pt>
                <c:pt idx="1210">
                  <c:v>29.57</c:v>
                </c:pt>
                <c:pt idx="1211">
                  <c:v>29.49</c:v>
                </c:pt>
                <c:pt idx="1212">
                  <c:v>29.65</c:v>
                </c:pt>
                <c:pt idx="1213">
                  <c:v>30.85</c:v>
                </c:pt>
                <c:pt idx="1214">
                  <c:v>30.79</c:v>
                </c:pt>
                <c:pt idx="1215">
                  <c:v>30.69</c:v>
                </c:pt>
                <c:pt idx="1216">
                  <c:v>30.31</c:v>
                </c:pt>
                <c:pt idx="1217">
                  <c:v>30.53</c:v>
                </c:pt>
                <c:pt idx="1218">
                  <c:v>30.59</c:v>
                </c:pt>
                <c:pt idx="1219">
                  <c:v>30.71</c:v>
                </c:pt>
                <c:pt idx="1220">
                  <c:v>30.59</c:v>
                </c:pt>
                <c:pt idx="1221">
                  <c:v>29.73</c:v>
                </c:pt>
                <c:pt idx="1222">
                  <c:v>29.65</c:v>
                </c:pt>
                <c:pt idx="1223">
                  <c:v>29.65</c:v>
                </c:pt>
                <c:pt idx="1224">
                  <c:v>29.56</c:v>
                </c:pt>
                <c:pt idx="1225">
                  <c:v>29.31</c:v>
                </c:pt>
                <c:pt idx="1226">
                  <c:v>28.96</c:v>
                </c:pt>
                <c:pt idx="1227">
                  <c:v>29.36</c:v>
                </c:pt>
                <c:pt idx="1228">
                  <c:v>30.06</c:v>
                </c:pt>
                <c:pt idx="1229">
                  <c:v>29.73</c:v>
                </c:pt>
                <c:pt idx="1230">
                  <c:v>29.28</c:v>
                </c:pt>
                <c:pt idx="1231">
                  <c:v>29.61</c:v>
                </c:pt>
                <c:pt idx="1232">
                  <c:v>29.56</c:v>
                </c:pt>
                <c:pt idx="1233">
                  <c:v>28.31</c:v>
                </c:pt>
                <c:pt idx="1234">
                  <c:v>27.93</c:v>
                </c:pt>
                <c:pt idx="1235">
                  <c:v>28.19</c:v>
                </c:pt>
                <c:pt idx="1236">
                  <c:v>27.87</c:v>
                </c:pt>
                <c:pt idx="1237">
                  <c:v>27.09</c:v>
                </c:pt>
                <c:pt idx="1238">
                  <c:v>27.25</c:v>
                </c:pt>
                <c:pt idx="1239">
                  <c:v>26.81</c:v>
                </c:pt>
                <c:pt idx="1240">
                  <c:v>26.85</c:v>
                </c:pt>
                <c:pt idx="1241">
                  <c:v>27.18</c:v>
                </c:pt>
                <c:pt idx="1242">
                  <c:v>27.04</c:v>
                </c:pt>
                <c:pt idx="1243">
                  <c:v>26.89</c:v>
                </c:pt>
                <c:pt idx="1244">
                  <c:v>26.06</c:v>
                </c:pt>
                <c:pt idx="1245">
                  <c:v>25.72</c:v>
                </c:pt>
                <c:pt idx="1246">
                  <c:v>25.36</c:v>
                </c:pt>
                <c:pt idx="1247">
                  <c:v>25.83</c:v>
                </c:pt>
                <c:pt idx="1248">
                  <c:v>26.02</c:v>
                </c:pt>
                <c:pt idx="1249">
                  <c:v>26.19</c:v>
                </c:pt>
                <c:pt idx="1250">
                  <c:v>25.28</c:v>
                </c:pt>
                <c:pt idx="1251">
                  <c:v>25.4</c:v>
                </c:pt>
                <c:pt idx="1252">
                  <c:v>25.5</c:v>
                </c:pt>
                <c:pt idx="1253">
                  <c:v>26.71</c:v>
                </c:pt>
                <c:pt idx="1254">
                  <c:v>26.41</c:v>
                </c:pt>
                <c:pt idx="1255">
                  <c:v>27</c:v>
                </c:pt>
                <c:pt idx="1256">
                  <c:v>27.07</c:v>
                </c:pt>
                <c:pt idx="1257">
                  <c:v>27.73</c:v>
                </c:pt>
                <c:pt idx="1258">
                  <c:v>27.01</c:v>
                </c:pt>
                <c:pt idx="1259">
                  <c:v>26.6</c:v>
                </c:pt>
                <c:pt idx="1260">
                  <c:v>26.87</c:v>
                </c:pt>
                <c:pt idx="1263">
                  <c:v>27.27</c:v>
                </c:pt>
                <c:pt idx="1264">
                  <c:v>27.34</c:v>
                </c:pt>
                <c:pt idx="1265">
                  <c:v>26.8</c:v>
                </c:pt>
                <c:pt idx="1266">
                  <c:v>27.27</c:v>
                </c:pt>
                <c:pt idx="1267">
                  <c:v>27.03</c:v>
                </c:pt>
                <c:pt idx="1268">
                  <c:v>27.29</c:v>
                </c:pt>
                <c:pt idx="1269">
                  <c:v>27.73</c:v>
                </c:pt>
                <c:pt idx="1270">
                  <c:v>27.49</c:v>
                </c:pt>
                <c:pt idx="1271">
                  <c:v>28.2</c:v>
                </c:pt>
                <c:pt idx="1272">
                  <c:v>28.39</c:v>
                </c:pt>
                <c:pt idx="1273">
                  <c:v>30.15</c:v>
                </c:pt>
                <c:pt idx="1274">
                  <c:v>30.04</c:v>
                </c:pt>
                <c:pt idx="1275">
                  <c:v>30.41</c:v>
                </c:pt>
                <c:pt idx="1276">
                  <c:v>30.57</c:v>
                </c:pt>
                <c:pt idx="1277">
                  <c:v>30.57</c:v>
                </c:pt>
                <c:pt idx="1278">
                  <c:v>32.090000000000003</c:v>
                </c:pt>
                <c:pt idx="1279">
                  <c:v>32.130000000000003</c:v>
                </c:pt>
                <c:pt idx="1280">
                  <c:v>32.61</c:v>
                </c:pt>
                <c:pt idx="1281">
                  <c:v>32.68</c:v>
                </c:pt>
                <c:pt idx="1282">
                  <c:v>31.41</c:v>
                </c:pt>
                <c:pt idx="1283">
                  <c:v>31.21</c:v>
                </c:pt>
                <c:pt idx="1284">
                  <c:v>31.97</c:v>
                </c:pt>
                <c:pt idx="1285">
                  <c:v>33.26</c:v>
                </c:pt>
                <c:pt idx="1286">
                  <c:v>32.29</c:v>
                </c:pt>
                <c:pt idx="1287">
                  <c:v>31.2</c:v>
                </c:pt>
                <c:pt idx="1288">
                  <c:v>30.66</c:v>
                </c:pt>
                <c:pt idx="1289">
                  <c:v>31.95</c:v>
                </c:pt>
                <c:pt idx="1290">
                  <c:v>31.59</c:v>
                </c:pt>
                <c:pt idx="1291">
                  <c:v>32.08</c:v>
                </c:pt>
                <c:pt idx="1292">
                  <c:v>32.42</c:v>
                </c:pt>
                <c:pt idx="1293">
                  <c:v>33.229999999999997</c:v>
                </c:pt>
                <c:pt idx="1294">
                  <c:v>33.58</c:v>
                </c:pt>
                <c:pt idx="1295">
                  <c:v>33.880000000000003</c:v>
                </c:pt>
                <c:pt idx="1297">
                  <c:v>34.619999999999997</c:v>
                </c:pt>
                <c:pt idx="1298">
                  <c:v>34.32</c:v>
                </c:pt>
                <c:pt idx="1299">
                  <c:v>33.9</c:v>
                </c:pt>
                <c:pt idx="1300">
                  <c:v>34.979999999999997</c:v>
                </c:pt>
                <c:pt idx="1301">
                  <c:v>32.43</c:v>
                </c:pt>
                <c:pt idx="1302">
                  <c:v>32.700000000000003</c:v>
                </c:pt>
                <c:pt idx="1303">
                  <c:v>33.54</c:v>
                </c:pt>
                <c:pt idx="1304">
                  <c:v>33.78</c:v>
                </c:pt>
                <c:pt idx="1305">
                  <c:v>33.51</c:v>
                </c:pt>
                <c:pt idx="1306">
                  <c:v>32.840000000000003</c:v>
                </c:pt>
                <c:pt idx="1307">
                  <c:v>33.61</c:v>
                </c:pt>
                <c:pt idx="1308">
                  <c:v>33.909999999999997</c:v>
                </c:pt>
                <c:pt idx="1309">
                  <c:v>34.36</c:v>
                </c:pt>
                <c:pt idx="1310">
                  <c:v>35.049999999999997</c:v>
                </c:pt>
                <c:pt idx="1311">
                  <c:v>34.46</c:v>
                </c:pt>
                <c:pt idx="1312">
                  <c:v>35.43</c:v>
                </c:pt>
                <c:pt idx="1313">
                  <c:v>35.83</c:v>
                </c:pt>
                <c:pt idx="1314">
                  <c:v>36.630000000000003</c:v>
                </c:pt>
                <c:pt idx="1315">
                  <c:v>36.61</c:v>
                </c:pt>
                <c:pt idx="1317">
                  <c:v>36.880000000000003</c:v>
                </c:pt>
                <c:pt idx="1318">
                  <c:v>37.020000000000003</c:v>
                </c:pt>
                <c:pt idx="1319">
                  <c:v>36.450000000000003</c:v>
                </c:pt>
                <c:pt idx="1320">
                  <c:v>36.76</c:v>
                </c:pt>
                <c:pt idx="1321">
                  <c:v>37.29</c:v>
                </c:pt>
                <c:pt idx="1322">
                  <c:v>36.06</c:v>
                </c:pt>
                <c:pt idx="1323">
                  <c:v>37.96</c:v>
                </c:pt>
                <c:pt idx="1324">
                  <c:v>36.83</c:v>
                </c:pt>
                <c:pt idx="1325">
                  <c:v>36.76</c:v>
                </c:pt>
                <c:pt idx="1326">
                  <c:v>36.1</c:v>
                </c:pt>
                <c:pt idx="1327">
                  <c:v>36.950000000000003</c:v>
                </c:pt>
                <c:pt idx="1328">
                  <c:v>36.86</c:v>
                </c:pt>
                <c:pt idx="1329">
                  <c:v>37.21</c:v>
                </c:pt>
                <c:pt idx="1330">
                  <c:v>37.76</c:v>
                </c:pt>
                <c:pt idx="1331">
                  <c:v>37.18</c:v>
                </c:pt>
                <c:pt idx="1332">
                  <c:v>36.81</c:v>
                </c:pt>
                <c:pt idx="1333">
                  <c:v>37.869999999999997</c:v>
                </c:pt>
                <c:pt idx="1334">
                  <c:v>36.049999999999997</c:v>
                </c:pt>
                <c:pt idx="1335">
                  <c:v>35.409999999999997</c:v>
                </c:pt>
                <c:pt idx="1336">
                  <c:v>34.92</c:v>
                </c:pt>
                <c:pt idx="1337">
                  <c:v>31.55</c:v>
                </c:pt>
                <c:pt idx="1338">
                  <c:v>30.01</c:v>
                </c:pt>
                <c:pt idx="1339">
                  <c:v>28.62</c:v>
                </c:pt>
                <c:pt idx="1340">
                  <c:v>27.18</c:v>
                </c:pt>
                <c:pt idx="1341">
                  <c:v>29.51</c:v>
                </c:pt>
                <c:pt idx="1342">
                  <c:v>33.42</c:v>
                </c:pt>
                <c:pt idx="1343">
                  <c:v>28.71</c:v>
                </c:pt>
                <c:pt idx="1344">
                  <c:v>30.31</c:v>
                </c:pt>
                <c:pt idx="1345">
                  <c:v>30.21</c:v>
                </c:pt>
                <c:pt idx="1346">
                  <c:v>31.14</c:v>
                </c:pt>
                <c:pt idx="1347">
                  <c:v>29.48</c:v>
                </c:pt>
                <c:pt idx="1348">
                  <c:v>28.55</c:v>
                </c:pt>
                <c:pt idx="1349">
                  <c:v>29.05</c:v>
                </c:pt>
                <c:pt idx="1350">
                  <c:v>28.41</c:v>
                </c:pt>
                <c:pt idx="1351">
                  <c:v>27.76</c:v>
                </c:pt>
                <c:pt idx="1352">
                  <c:v>27.97</c:v>
                </c:pt>
                <c:pt idx="1353">
                  <c:v>28.93</c:v>
                </c:pt>
                <c:pt idx="1354">
                  <c:v>27.2</c:v>
                </c:pt>
                <c:pt idx="1355">
                  <c:v>28.28</c:v>
                </c:pt>
                <c:pt idx="1356">
                  <c:v>28.41</c:v>
                </c:pt>
                <c:pt idx="1357">
                  <c:v>29.46</c:v>
                </c:pt>
                <c:pt idx="1358">
                  <c:v>29.16</c:v>
                </c:pt>
                <c:pt idx="1359">
                  <c:v>30.1</c:v>
                </c:pt>
                <c:pt idx="1361">
                  <c:v>30.76</c:v>
                </c:pt>
                <c:pt idx="1362">
                  <c:v>29.92</c:v>
                </c:pt>
                <c:pt idx="1363">
                  <c:v>28.04</c:v>
                </c:pt>
                <c:pt idx="1364">
                  <c:v>27.52</c:v>
                </c:pt>
                <c:pt idx="1365">
                  <c:v>25.92</c:v>
                </c:pt>
                <c:pt idx="1366">
                  <c:v>25.25</c:v>
                </c:pt>
                <c:pt idx="1367">
                  <c:v>25.32</c:v>
                </c:pt>
                <c:pt idx="1368">
                  <c:v>26.09</c:v>
                </c:pt>
                <c:pt idx="1369">
                  <c:v>26.05</c:v>
                </c:pt>
                <c:pt idx="1370">
                  <c:v>25.74</c:v>
                </c:pt>
                <c:pt idx="1371">
                  <c:v>26.43</c:v>
                </c:pt>
                <c:pt idx="1372">
                  <c:v>25.65</c:v>
                </c:pt>
                <c:pt idx="1373">
                  <c:v>26.24</c:v>
                </c:pt>
                <c:pt idx="1374">
                  <c:v>26.94</c:v>
                </c:pt>
                <c:pt idx="1375">
                  <c:v>27.65</c:v>
                </c:pt>
                <c:pt idx="1376">
                  <c:v>27.34</c:v>
                </c:pt>
                <c:pt idx="1377">
                  <c:v>28.51</c:v>
                </c:pt>
                <c:pt idx="1378">
                  <c:v>29.21</c:v>
                </c:pt>
                <c:pt idx="1379">
                  <c:v>28.57</c:v>
                </c:pt>
                <c:pt idx="1380">
                  <c:v>29.07</c:v>
                </c:pt>
                <c:pt idx="1381">
                  <c:v>28.84</c:v>
                </c:pt>
                <c:pt idx="1382">
                  <c:v>29.29</c:v>
                </c:pt>
                <c:pt idx="1383">
                  <c:v>29.51</c:v>
                </c:pt>
                <c:pt idx="1384">
                  <c:v>29.09</c:v>
                </c:pt>
                <c:pt idx="1385">
                  <c:v>29.74</c:v>
                </c:pt>
                <c:pt idx="1387">
                  <c:v>29.24</c:v>
                </c:pt>
                <c:pt idx="1388">
                  <c:v>28.46</c:v>
                </c:pt>
                <c:pt idx="1389">
                  <c:v>29.15</c:v>
                </c:pt>
                <c:pt idx="1390">
                  <c:v>29.56</c:v>
                </c:pt>
                <c:pt idx="1391">
                  <c:v>30.72</c:v>
                </c:pt>
                <c:pt idx="1392">
                  <c:v>30.78</c:v>
                </c:pt>
                <c:pt idx="1393">
                  <c:v>29.81</c:v>
                </c:pt>
                <c:pt idx="1394">
                  <c:v>30.84</c:v>
                </c:pt>
                <c:pt idx="1395">
                  <c:v>31.26</c:v>
                </c:pt>
                <c:pt idx="1396">
                  <c:v>31.36</c:v>
                </c:pt>
                <c:pt idx="1397">
                  <c:v>31.72</c:v>
                </c:pt>
                <c:pt idx="1398">
                  <c:v>32.17</c:v>
                </c:pt>
                <c:pt idx="1399">
                  <c:v>31.41</c:v>
                </c:pt>
                <c:pt idx="1400">
                  <c:v>30.63</c:v>
                </c:pt>
                <c:pt idx="1401">
                  <c:v>31.14</c:v>
                </c:pt>
                <c:pt idx="1402">
                  <c:v>31.08</c:v>
                </c:pt>
                <c:pt idx="1403">
                  <c:v>30.28</c:v>
                </c:pt>
                <c:pt idx="1404">
                  <c:v>29.86</c:v>
                </c:pt>
                <c:pt idx="1405">
                  <c:v>30.63</c:v>
                </c:pt>
                <c:pt idx="1406">
                  <c:v>30.22</c:v>
                </c:pt>
                <c:pt idx="1407">
                  <c:v>30.05</c:v>
                </c:pt>
                <c:pt idx="1408">
                  <c:v>31.65</c:v>
                </c:pt>
                <c:pt idx="1409">
                  <c:v>28.97</c:v>
                </c:pt>
                <c:pt idx="1410">
                  <c:v>29.18</c:v>
                </c:pt>
                <c:pt idx="1411">
                  <c:v>30.15</c:v>
                </c:pt>
                <c:pt idx="1412">
                  <c:v>30.41</c:v>
                </c:pt>
                <c:pt idx="1413">
                  <c:v>30.29</c:v>
                </c:pt>
                <c:pt idx="1414">
                  <c:v>30.39</c:v>
                </c:pt>
                <c:pt idx="1416">
                  <c:v>30.08</c:v>
                </c:pt>
                <c:pt idx="1417">
                  <c:v>30.32</c:v>
                </c:pt>
                <c:pt idx="1418">
                  <c:v>30.87</c:v>
                </c:pt>
                <c:pt idx="1419">
                  <c:v>31.04</c:v>
                </c:pt>
                <c:pt idx="1420">
                  <c:v>31.33</c:v>
                </c:pt>
                <c:pt idx="1421">
                  <c:v>31.2</c:v>
                </c:pt>
                <c:pt idx="1422">
                  <c:v>31.6</c:v>
                </c:pt>
                <c:pt idx="1423">
                  <c:v>31.2</c:v>
                </c:pt>
                <c:pt idx="1424">
                  <c:v>31.44</c:v>
                </c:pt>
                <c:pt idx="1425">
                  <c:v>31.96</c:v>
                </c:pt>
                <c:pt idx="1426">
                  <c:v>31.67</c:v>
                </c:pt>
                <c:pt idx="1427">
                  <c:v>30.2</c:v>
                </c:pt>
                <c:pt idx="1428">
                  <c:v>30.13</c:v>
                </c:pt>
                <c:pt idx="1429">
                  <c:v>30.72</c:v>
                </c:pt>
                <c:pt idx="1430">
                  <c:v>30.31</c:v>
                </c:pt>
                <c:pt idx="1431">
                  <c:v>29.98</c:v>
                </c:pt>
                <c:pt idx="1432">
                  <c:v>30.21</c:v>
                </c:pt>
                <c:pt idx="1433">
                  <c:v>30.69</c:v>
                </c:pt>
                <c:pt idx="1434">
                  <c:v>30.56</c:v>
                </c:pt>
                <c:pt idx="1435">
                  <c:v>32.229999999999997</c:v>
                </c:pt>
                <c:pt idx="1436">
                  <c:v>31.8</c:v>
                </c:pt>
                <c:pt idx="1437">
                  <c:v>32.340000000000003</c:v>
                </c:pt>
                <c:pt idx="1438">
                  <c:v>31.77</c:v>
                </c:pt>
                <c:pt idx="1439">
                  <c:v>32.409999999999997</c:v>
                </c:pt>
                <c:pt idx="1440">
                  <c:v>32.229999999999997</c:v>
                </c:pt>
                <c:pt idx="1441">
                  <c:v>31.91</c:v>
                </c:pt>
                <c:pt idx="1442">
                  <c:v>31.91</c:v>
                </c:pt>
                <c:pt idx="1443">
                  <c:v>30.85</c:v>
                </c:pt>
                <c:pt idx="1444">
                  <c:v>30.85</c:v>
                </c:pt>
                <c:pt idx="1445">
                  <c:v>31.01</c:v>
                </c:pt>
                <c:pt idx="1446">
                  <c:v>30.81</c:v>
                </c:pt>
                <c:pt idx="1447">
                  <c:v>30.76</c:v>
                </c:pt>
                <c:pt idx="1448">
                  <c:v>30.96</c:v>
                </c:pt>
                <c:pt idx="1449">
                  <c:v>31.78</c:v>
                </c:pt>
                <c:pt idx="1450">
                  <c:v>31.64</c:v>
                </c:pt>
                <c:pt idx="1451">
                  <c:v>31.43</c:v>
                </c:pt>
                <c:pt idx="1452">
                  <c:v>32.01</c:v>
                </c:pt>
                <c:pt idx="1453">
                  <c:v>31.18</c:v>
                </c:pt>
                <c:pt idx="1454">
                  <c:v>31.41</c:v>
                </c:pt>
                <c:pt idx="1455">
                  <c:v>31.76</c:v>
                </c:pt>
                <c:pt idx="1457">
                  <c:v>29.57</c:v>
                </c:pt>
                <c:pt idx="1458">
                  <c:v>29.43</c:v>
                </c:pt>
                <c:pt idx="1459">
                  <c:v>28.87</c:v>
                </c:pt>
                <c:pt idx="1460">
                  <c:v>28.93</c:v>
                </c:pt>
                <c:pt idx="1461">
                  <c:v>28.85</c:v>
                </c:pt>
                <c:pt idx="1462">
                  <c:v>29.22</c:v>
                </c:pt>
                <c:pt idx="1463">
                  <c:v>29.41</c:v>
                </c:pt>
                <c:pt idx="1464">
                  <c:v>28.86</c:v>
                </c:pt>
                <c:pt idx="1465">
                  <c:v>28.26</c:v>
                </c:pt>
                <c:pt idx="1466">
                  <c:v>28.15</c:v>
                </c:pt>
                <c:pt idx="1467">
                  <c:v>27.6</c:v>
                </c:pt>
                <c:pt idx="1468">
                  <c:v>27</c:v>
                </c:pt>
                <c:pt idx="1469">
                  <c:v>27.26</c:v>
                </c:pt>
                <c:pt idx="1470">
                  <c:v>26.93</c:v>
                </c:pt>
                <c:pt idx="1471">
                  <c:v>26.97</c:v>
                </c:pt>
                <c:pt idx="1472">
                  <c:v>27</c:v>
                </c:pt>
                <c:pt idx="1473">
                  <c:v>28.19</c:v>
                </c:pt>
                <c:pt idx="1474">
                  <c:v>28.29</c:v>
                </c:pt>
                <c:pt idx="1475">
                  <c:v>28.21</c:v>
                </c:pt>
                <c:pt idx="1476">
                  <c:v>28.35</c:v>
                </c:pt>
                <c:pt idx="1477">
                  <c:v>29.19</c:v>
                </c:pt>
                <c:pt idx="1478">
                  <c:v>29.43</c:v>
                </c:pt>
                <c:pt idx="1479">
                  <c:v>29.83</c:v>
                </c:pt>
                <c:pt idx="1480">
                  <c:v>30.37</c:v>
                </c:pt>
                <c:pt idx="1481">
                  <c:v>30.4</c:v>
                </c:pt>
                <c:pt idx="1482">
                  <c:v>30.48</c:v>
                </c:pt>
                <c:pt idx="1483">
                  <c:v>29.6</c:v>
                </c:pt>
                <c:pt idx="1484">
                  <c:v>30.97</c:v>
                </c:pt>
                <c:pt idx="1485">
                  <c:v>32.01</c:v>
                </c:pt>
                <c:pt idx="1486">
                  <c:v>31.91</c:v>
                </c:pt>
                <c:pt idx="1487">
                  <c:v>31.68</c:v>
                </c:pt>
                <c:pt idx="1488">
                  <c:v>31.74</c:v>
                </c:pt>
                <c:pt idx="1489">
                  <c:v>31.51</c:v>
                </c:pt>
                <c:pt idx="1490">
                  <c:v>30.61</c:v>
                </c:pt>
                <c:pt idx="1491">
                  <c:v>30.37</c:v>
                </c:pt>
                <c:pt idx="1492">
                  <c:v>30.19</c:v>
                </c:pt>
                <c:pt idx="1493">
                  <c:v>30</c:v>
                </c:pt>
                <c:pt idx="1494">
                  <c:v>30.31</c:v>
                </c:pt>
                <c:pt idx="1495">
                  <c:v>29.99</c:v>
                </c:pt>
                <c:pt idx="1496">
                  <c:v>29.95</c:v>
                </c:pt>
                <c:pt idx="1497">
                  <c:v>29.57</c:v>
                </c:pt>
                <c:pt idx="1498">
                  <c:v>28.95</c:v>
                </c:pt>
                <c:pt idx="1499">
                  <c:v>28.67</c:v>
                </c:pt>
                <c:pt idx="1500">
                  <c:v>29.24</c:v>
                </c:pt>
                <c:pt idx="1501">
                  <c:v>28.81</c:v>
                </c:pt>
                <c:pt idx="1502">
                  <c:v>28.86</c:v>
                </c:pt>
                <c:pt idx="1503">
                  <c:v>30.29</c:v>
                </c:pt>
                <c:pt idx="1504">
                  <c:v>30.25</c:v>
                </c:pt>
                <c:pt idx="1505">
                  <c:v>30.73</c:v>
                </c:pt>
                <c:pt idx="1506">
                  <c:v>31.01</c:v>
                </c:pt>
                <c:pt idx="1507">
                  <c:v>31.21</c:v>
                </c:pt>
                <c:pt idx="1508">
                  <c:v>31.37</c:v>
                </c:pt>
                <c:pt idx="1509">
                  <c:v>31.89</c:v>
                </c:pt>
                <c:pt idx="1510">
                  <c:v>32.31</c:v>
                </c:pt>
                <c:pt idx="1511">
                  <c:v>31.75</c:v>
                </c:pt>
                <c:pt idx="1512">
                  <c:v>33.159999999999997</c:v>
                </c:pt>
                <c:pt idx="1513">
                  <c:v>32.840000000000003</c:v>
                </c:pt>
                <c:pt idx="1514">
                  <c:v>32.869999999999997</c:v>
                </c:pt>
                <c:pt idx="1515">
                  <c:v>32.26</c:v>
                </c:pt>
                <c:pt idx="1516">
                  <c:v>29.99</c:v>
                </c:pt>
                <c:pt idx="1517">
                  <c:v>30.02</c:v>
                </c:pt>
                <c:pt idx="1518">
                  <c:v>30.33</c:v>
                </c:pt>
                <c:pt idx="1521">
                  <c:v>29.89</c:v>
                </c:pt>
                <c:pt idx="1522">
                  <c:v>30.74</c:v>
                </c:pt>
                <c:pt idx="1523">
                  <c:v>30.61</c:v>
                </c:pt>
                <c:pt idx="1524">
                  <c:v>31.24</c:v>
                </c:pt>
                <c:pt idx="1525">
                  <c:v>30.68</c:v>
                </c:pt>
                <c:pt idx="1526">
                  <c:v>32.08</c:v>
                </c:pt>
                <c:pt idx="1527">
                  <c:v>31.72</c:v>
                </c:pt>
                <c:pt idx="1528">
                  <c:v>31.92</c:v>
                </c:pt>
                <c:pt idx="1529">
                  <c:v>32.01</c:v>
                </c:pt>
                <c:pt idx="1530">
                  <c:v>33.06</c:v>
                </c:pt>
                <c:pt idx="1531">
                  <c:v>33.17</c:v>
                </c:pt>
                <c:pt idx="1532">
                  <c:v>32.94</c:v>
                </c:pt>
                <c:pt idx="1533">
                  <c:v>33.36</c:v>
                </c:pt>
                <c:pt idx="1534">
                  <c:v>33.72</c:v>
                </c:pt>
                <c:pt idx="1535">
                  <c:v>32.81</c:v>
                </c:pt>
                <c:pt idx="1536">
                  <c:v>31.71</c:v>
                </c:pt>
                <c:pt idx="1537">
                  <c:v>32.03</c:v>
                </c:pt>
                <c:pt idx="1538">
                  <c:v>32.99</c:v>
                </c:pt>
                <c:pt idx="1539">
                  <c:v>32.51</c:v>
                </c:pt>
                <c:pt idx="1540">
                  <c:v>33.01</c:v>
                </c:pt>
                <c:pt idx="1541">
                  <c:v>32.51</c:v>
                </c:pt>
                <c:pt idx="1543">
                  <c:v>33.71</c:v>
                </c:pt>
                <c:pt idx="1544">
                  <c:v>33.54</c:v>
                </c:pt>
                <c:pt idx="1545">
                  <c:v>33.57</c:v>
                </c:pt>
                <c:pt idx="1546">
                  <c:v>34.270000000000003</c:v>
                </c:pt>
                <c:pt idx="1547">
                  <c:v>34.380000000000003</c:v>
                </c:pt>
                <c:pt idx="1548">
                  <c:v>34.92</c:v>
                </c:pt>
                <c:pt idx="1549">
                  <c:v>34.26</c:v>
                </c:pt>
                <c:pt idx="1550">
                  <c:v>34.619999999999997</c:v>
                </c:pt>
                <c:pt idx="1551">
                  <c:v>33.61</c:v>
                </c:pt>
                <c:pt idx="1552">
                  <c:v>35.159999999999997</c:v>
                </c:pt>
                <c:pt idx="1554">
                  <c:v>36.21</c:v>
                </c:pt>
                <c:pt idx="1555">
                  <c:v>35.53</c:v>
                </c:pt>
                <c:pt idx="1556">
                  <c:v>35.119999999999997</c:v>
                </c:pt>
                <c:pt idx="1557">
                  <c:v>34.94</c:v>
                </c:pt>
                <c:pt idx="1558">
                  <c:v>34.409999999999997</c:v>
                </c:pt>
                <c:pt idx="1559">
                  <c:v>33.99</c:v>
                </c:pt>
                <c:pt idx="1560">
                  <c:v>33.630000000000003</c:v>
                </c:pt>
                <c:pt idx="1561">
                  <c:v>32.86</c:v>
                </c:pt>
                <c:pt idx="1562">
                  <c:v>33.159999999999997</c:v>
                </c:pt>
                <c:pt idx="1563">
                  <c:v>34.020000000000003</c:v>
                </c:pt>
                <c:pt idx="1564">
                  <c:v>34.200000000000003</c:v>
                </c:pt>
                <c:pt idx="1565">
                  <c:v>33.06</c:v>
                </c:pt>
                <c:pt idx="1566">
                  <c:v>33.26</c:v>
                </c:pt>
                <c:pt idx="1567">
                  <c:v>32.49</c:v>
                </c:pt>
                <c:pt idx="1568">
                  <c:v>32.909999999999997</c:v>
                </c:pt>
                <c:pt idx="1569">
                  <c:v>34.03</c:v>
                </c:pt>
                <c:pt idx="1570">
                  <c:v>33.93</c:v>
                </c:pt>
                <c:pt idx="1571">
                  <c:v>34.03</c:v>
                </c:pt>
                <c:pt idx="1572">
                  <c:v>34.51</c:v>
                </c:pt>
                <c:pt idx="1574">
                  <c:v>35.130000000000003</c:v>
                </c:pt>
                <c:pt idx="1575">
                  <c:v>35.42</c:v>
                </c:pt>
                <c:pt idx="1576">
                  <c:v>35.81</c:v>
                </c:pt>
                <c:pt idx="1577">
                  <c:v>35.799999999999997</c:v>
                </c:pt>
                <c:pt idx="1578">
                  <c:v>35.75</c:v>
                </c:pt>
                <c:pt idx="1579">
                  <c:v>35.85</c:v>
                </c:pt>
                <c:pt idx="1580">
                  <c:v>37.28</c:v>
                </c:pt>
                <c:pt idx="1581">
                  <c:v>35.450000000000003</c:v>
                </c:pt>
                <c:pt idx="1582">
                  <c:v>36.08</c:v>
                </c:pt>
                <c:pt idx="1583">
                  <c:v>36.85</c:v>
                </c:pt>
                <c:pt idx="1584">
                  <c:v>36.6</c:v>
                </c:pt>
                <c:pt idx="1585">
                  <c:v>35.799999999999997</c:v>
                </c:pt>
                <c:pt idx="1586">
                  <c:v>36.81</c:v>
                </c:pt>
                <c:pt idx="1587">
                  <c:v>37.31</c:v>
                </c:pt>
                <c:pt idx="1588">
                  <c:v>36.53</c:v>
                </c:pt>
                <c:pt idx="1589">
                  <c:v>36.29</c:v>
                </c:pt>
                <c:pt idx="1590">
                  <c:v>36.21</c:v>
                </c:pt>
                <c:pt idx="1591">
                  <c:v>36.950000000000003</c:v>
                </c:pt>
                <c:pt idx="1592">
                  <c:v>36.21</c:v>
                </c:pt>
                <c:pt idx="1593">
                  <c:v>37.44</c:v>
                </c:pt>
                <c:pt idx="1594">
                  <c:v>37.36</c:v>
                </c:pt>
                <c:pt idx="1595">
                  <c:v>38.21</c:v>
                </c:pt>
                <c:pt idx="1596">
                  <c:v>37.81</c:v>
                </c:pt>
                <c:pt idx="1597">
                  <c:v>38.090000000000003</c:v>
                </c:pt>
                <c:pt idx="1598">
                  <c:v>37.119999999999997</c:v>
                </c:pt>
                <c:pt idx="1599">
                  <c:v>37.81</c:v>
                </c:pt>
                <c:pt idx="1600">
                  <c:v>37.06</c:v>
                </c:pt>
                <c:pt idx="1601">
                  <c:v>35.67</c:v>
                </c:pt>
                <c:pt idx="1602">
                  <c:v>35.61</c:v>
                </c:pt>
                <c:pt idx="1603">
                  <c:v>35.409999999999997</c:v>
                </c:pt>
                <c:pt idx="1604">
                  <c:v>36.15</c:v>
                </c:pt>
                <c:pt idx="1605">
                  <c:v>35.75</c:v>
                </c:pt>
                <c:pt idx="1606">
                  <c:v>34.47</c:v>
                </c:pt>
                <c:pt idx="1607">
                  <c:v>34.39</c:v>
                </c:pt>
                <c:pt idx="1608">
                  <c:v>34.29</c:v>
                </c:pt>
                <c:pt idx="1609">
                  <c:v>35.090000000000003</c:v>
                </c:pt>
                <c:pt idx="1610">
                  <c:v>36.28</c:v>
                </c:pt>
                <c:pt idx="1611">
                  <c:v>37.14</c:v>
                </c:pt>
                <c:pt idx="1613">
                  <c:v>37.79</c:v>
                </c:pt>
                <c:pt idx="1614">
                  <c:v>37.090000000000003</c:v>
                </c:pt>
                <c:pt idx="1615">
                  <c:v>36.619999999999997</c:v>
                </c:pt>
                <c:pt idx="1616">
                  <c:v>37.74</c:v>
                </c:pt>
                <c:pt idx="1617">
                  <c:v>37.700000000000003</c:v>
                </c:pt>
                <c:pt idx="1618">
                  <c:v>37.46</c:v>
                </c:pt>
                <c:pt idx="1619">
                  <c:v>37.61</c:v>
                </c:pt>
                <c:pt idx="1620">
                  <c:v>36.61</c:v>
                </c:pt>
                <c:pt idx="1621">
                  <c:v>37.700000000000003</c:v>
                </c:pt>
                <c:pt idx="1622">
                  <c:v>37.22</c:v>
                </c:pt>
                <c:pt idx="1623">
                  <c:v>37.020000000000003</c:v>
                </c:pt>
                <c:pt idx="1624">
                  <c:v>37.49</c:v>
                </c:pt>
                <c:pt idx="1625">
                  <c:v>37.229999999999997</c:v>
                </c:pt>
                <c:pt idx="1626">
                  <c:v>37.5</c:v>
                </c:pt>
                <c:pt idx="1627">
                  <c:v>37.31</c:v>
                </c:pt>
                <c:pt idx="1628">
                  <c:v>38.26</c:v>
                </c:pt>
                <c:pt idx="1629">
                  <c:v>38.86</c:v>
                </c:pt>
                <c:pt idx="1630">
                  <c:v>39.69</c:v>
                </c:pt>
                <c:pt idx="1631">
                  <c:v>39.409999999999997</c:v>
                </c:pt>
                <c:pt idx="1632">
                  <c:v>39.979999999999997</c:v>
                </c:pt>
                <c:pt idx="1633">
                  <c:v>38.9</c:v>
                </c:pt>
                <c:pt idx="1634">
                  <c:v>40.299999999999997</c:v>
                </c:pt>
                <c:pt idx="1635">
                  <c:v>40.299999999999997</c:v>
                </c:pt>
                <c:pt idx="1636">
                  <c:v>40.94</c:v>
                </c:pt>
                <c:pt idx="1637">
                  <c:v>41.42</c:v>
                </c:pt>
                <c:pt idx="1638">
                  <c:v>41.53</c:v>
                </c:pt>
                <c:pt idx="1639">
                  <c:v>40.32</c:v>
                </c:pt>
                <c:pt idx="1640">
                  <c:v>41.61</c:v>
                </c:pt>
                <c:pt idx="1641">
                  <c:v>40.92</c:v>
                </c:pt>
                <c:pt idx="1642">
                  <c:v>39.83</c:v>
                </c:pt>
                <c:pt idx="1643">
                  <c:v>42.03</c:v>
                </c:pt>
                <c:pt idx="1644">
                  <c:v>41.45</c:v>
                </c:pt>
                <c:pt idx="1645">
                  <c:v>40.6</c:v>
                </c:pt>
                <c:pt idx="1646">
                  <c:v>39.25</c:v>
                </c:pt>
                <c:pt idx="1647">
                  <c:v>39.9</c:v>
                </c:pt>
                <c:pt idx="1649">
                  <c:v>42.33</c:v>
                </c:pt>
                <c:pt idx="1650">
                  <c:v>39.96</c:v>
                </c:pt>
                <c:pt idx="1651">
                  <c:v>39.29</c:v>
                </c:pt>
                <c:pt idx="1652">
                  <c:v>38.44</c:v>
                </c:pt>
                <c:pt idx="1653">
                  <c:v>38.72</c:v>
                </c:pt>
                <c:pt idx="1654">
                  <c:v>37.18</c:v>
                </c:pt>
                <c:pt idx="1655">
                  <c:v>37.6</c:v>
                </c:pt>
                <c:pt idx="1656">
                  <c:v>38.450000000000003</c:v>
                </c:pt>
                <c:pt idx="1658">
                  <c:v>37.58</c:v>
                </c:pt>
                <c:pt idx="1659">
                  <c:v>37.18</c:v>
                </c:pt>
                <c:pt idx="1660">
                  <c:v>37.33</c:v>
                </c:pt>
                <c:pt idx="1661">
                  <c:v>38.51</c:v>
                </c:pt>
                <c:pt idx="1662">
                  <c:v>38.68</c:v>
                </c:pt>
                <c:pt idx="1663">
                  <c:v>37.69</c:v>
                </c:pt>
                <c:pt idx="1664">
                  <c:v>38.11</c:v>
                </c:pt>
                <c:pt idx="1665">
                  <c:v>37.56</c:v>
                </c:pt>
                <c:pt idx="1666">
                  <c:v>37.81</c:v>
                </c:pt>
                <c:pt idx="1667">
                  <c:v>37.340000000000003</c:v>
                </c:pt>
                <c:pt idx="1668">
                  <c:v>36.25</c:v>
                </c:pt>
                <c:pt idx="1669">
                  <c:v>35.6</c:v>
                </c:pt>
                <c:pt idx="1670">
                  <c:v>36.92</c:v>
                </c:pt>
                <c:pt idx="1671">
                  <c:v>38.56</c:v>
                </c:pt>
                <c:pt idx="1672">
                  <c:v>38.369999999999997</c:v>
                </c:pt>
                <c:pt idx="1674">
                  <c:v>39.56</c:v>
                </c:pt>
                <c:pt idx="1675">
                  <c:v>39.18</c:v>
                </c:pt>
                <c:pt idx="1676">
                  <c:v>40.270000000000003</c:v>
                </c:pt>
                <c:pt idx="1677">
                  <c:v>39.9</c:v>
                </c:pt>
                <c:pt idx="1678">
                  <c:v>39.299999999999997</c:v>
                </c:pt>
                <c:pt idx="1679">
                  <c:v>39.549999999999997</c:v>
                </c:pt>
                <c:pt idx="1680">
                  <c:v>40.98</c:v>
                </c:pt>
                <c:pt idx="1681">
                  <c:v>40.700000000000003</c:v>
                </c:pt>
                <c:pt idx="1682">
                  <c:v>41.1</c:v>
                </c:pt>
                <c:pt idx="1683">
                  <c:v>41.55</c:v>
                </c:pt>
                <c:pt idx="1684">
                  <c:v>40.86</c:v>
                </c:pt>
                <c:pt idx="1685">
                  <c:v>40.630000000000003</c:v>
                </c:pt>
                <c:pt idx="1686">
                  <c:v>41.51</c:v>
                </c:pt>
                <c:pt idx="1687">
                  <c:v>41.82</c:v>
                </c:pt>
                <c:pt idx="1688">
                  <c:v>41.45</c:v>
                </c:pt>
                <c:pt idx="1689">
                  <c:v>41.83</c:v>
                </c:pt>
                <c:pt idx="1690">
                  <c:v>42.81</c:v>
                </c:pt>
                <c:pt idx="1691">
                  <c:v>42.69</c:v>
                </c:pt>
                <c:pt idx="1692">
                  <c:v>43.72</c:v>
                </c:pt>
                <c:pt idx="1693">
                  <c:v>43.83</c:v>
                </c:pt>
                <c:pt idx="1694">
                  <c:v>44.13</c:v>
                </c:pt>
                <c:pt idx="1695">
                  <c:v>42.73</c:v>
                </c:pt>
                <c:pt idx="1696">
                  <c:v>44.39</c:v>
                </c:pt>
                <c:pt idx="1697">
                  <c:v>43.95</c:v>
                </c:pt>
                <c:pt idx="1698">
                  <c:v>44.86</c:v>
                </c:pt>
                <c:pt idx="1699">
                  <c:v>44.51</c:v>
                </c:pt>
                <c:pt idx="1700">
                  <c:v>44.72</c:v>
                </c:pt>
                <c:pt idx="1701">
                  <c:v>45.52</c:v>
                </c:pt>
                <c:pt idx="1702">
                  <c:v>46.61</c:v>
                </c:pt>
                <c:pt idx="1703">
                  <c:v>46.02</c:v>
                </c:pt>
                <c:pt idx="1704">
                  <c:v>46.75</c:v>
                </c:pt>
                <c:pt idx="1705">
                  <c:v>47.36</c:v>
                </c:pt>
                <c:pt idx="1706">
                  <c:v>48.66</c:v>
                </c:pt>
                <c:pt idx="1707">
                  <c:v>47.6</c:v>
                </c:pt>
                <c:pt idx="1708">
                  <c:v>46</c:v>
                </c:pt>
                <c:pt idx="1709">
                  <c:v>45.68</c:v>
                </c:pt>
                <c:pt idx="1710">
                  <c:v>43.83</c:v>
                </c:pt>
                <c:pt idx="1711">
                  <c:v>43.06</c:v>
                </c:pt>
                <c:pt idx="1712">
                  <c:v>43.11</c:v>
                </c:pt>
                <c:pt idx="1713">
                  <c:v>42.32</c:v>
                </c:pt>
                <c:pt idx="1714">
                  <c:v>42.23</c:v>
                </c:pt>
                <c:pt idx="1715">
                  <c:v>43.89</c:v>
                </c:pt>
                <c:pt idx="1716">
                  <c:v>44.04</c:v>
                </c:pt>
                <c:pt idx="1717">
                  <c:v>43.94</c:v>
                </c:pt>
                <c:pt idx="1719">
                  <c:v>43.18</c:v>
                </c:pt>
                <c:pt idx="1720">
                  <c:v>42.77</c:v>
                </c:pt>
                <c:pt idx="1721">
                  <c:v>44.53</c:v>
                </c:pt>
                <c:pt idx="1722">
                  <c:v>42.84</c:v>
                </c:pt>
                <c:pt idx="1723">
                  <c:v>43.86</c:v>
                </c:pt>
                <c:pt idx="1724">
                  <c:v>44.62</c:v>
                </c:pt>
                <c:pt idx="1725">
                  <c:v>43.83</c:v>
                </c:pt>
                <c:pt idx="1726">
                  <c:v>44.03</c:v>
                </c:pt>
                <c:pt idx="1727">
                  <c:v>45.63</c:v>
                </c:pt>
                <c:pt idx="1728">
                  <c:v>46.33</c:v>
                </c:pt>
                <c:pt idx="1729">
                  <c:v>47.11</c:v>
                </c:pt>
                <c:pt idx="1730">
                  <c:v>48.41</c:v>
                </c:pt>
                <c:pt idx="1731">
                  <c:v>48.37</c:v>
                </c:pt>
                <c:pt idx="1732">
                  <c:v>48.86</c:v>
                </c:pt>
                <c:pt idx="1733">
                  <c:v>49.56</c:v>
                </c:pt>
                <c:pt idx="1734">
                  <c:v>49.76</c:v>
                </c:pt>
                <c:pt idx="1735">
                  <c:v>49.53</c:v>
                </c:pt>
                <c:pt idx="1736">
                  <c:v>49.56</c:v>
                </c:pt>
                <c:pt idx="1737">
                  <c:v>50.16</c:v>
                </c:pt>
                <c:pt idx="1738">
                  <c:v>49.85</c:v>
                </c:pt>
                <c:pt idx="1739">
                  <c:v>51.08</c:v>
                </c:pt>
                <c:pt idx="1740">
                  <c:v>51.98</c:v>
                </c:pt>
                <c:pt idx="1741">
                  <c:v>52.56</c:v>
                </c:pt>
                <c:pt idx="1742">
                  <c:v>53.4</c:v>
                </c:pt>
                <c:pt idx="1743">
                  <c:v>53.65</c:v>
                </c:pt>
                <c:pt idx="1744">
                  <c:v>53.49</c:v>
                </c:pt>
                <c:pt idx="1745">
                  <c:v>53.86</c:v>
                </c:pt>
                <c:pt idx="1746">
                  <c:v>54.69</c:v>
                </c:pt>
                <c:pt idx="1747">
                  <c:v>54.89</c:v>
                </c:pt>
                <c:pt idx="1748">
                  <c:v>53.59</c:v>
                </c:pt>
                <c:pt idx="1749">
                  <c:v>53.28</c:v>
                </c:pt>
                <c:pt idx="1750">
                  <c:v>54.93</c:v>
                </c:pt>
                <c:pt idx="1751">
                  <c:v>54.51</c:v>
                </c:pt>
                <c:pt idx="1752">
                  <c:v>55.83</c:v>
                </c:pt>
                <c:pt idx="1753">
                  <c:v>55.52</c:v>
                </c:pt>
                <c:pt idx="1754">
                  <c:v>56.37</c:v>
                </c:pt>
                <c:pt idx="1755">
                  <c:v>52.52</c:v>
                </c:pt>
                <c:pt idx="1756">
                  <c:v>50.95</c:v>
                </c:pt>
                <c:pt idx="1757">
                  <c:v>51.78</c:v>
                </c:pt>
                <c:pt idx="1758">
                  <c:v>50.1</c:v>
                </c:pt>
                <c:pt idx="1759">
                  <c:v>49.6</c:v>
                </c:pt>
                <c:pt idx="1760">
                  <c:v>50.9</c:v>
                </c:pt>
                <c:pt idx="1761">
                  <c:v>48.8</c:v>
                </c:pt>
                <c:pt idx="1762">
                  <c:v>49.65</c:v>
                </c:pt>
                <c:pt idx="1763">
                  <c:v>49.1</c:v>
                </c:pt>
                <c:pt idx="1764">
                  <c:v>47.4</c:v>
                </c:pt>
                <c:pt idx="1765">
                  <c:v>48.7</c:v>
                </c:pt>
                <c:pt idx="1766">
                  <c:v>47.5</c:v>
                </c:pt>
                <c:pt idx="1767">
                  <c:v>47.3</c:v>
                </c:pt>
                <c:pt idx="1768">
                  <c:v>46.95</c:v>
                </c:pt>
                <c:pt idx="1769">
                  <c:v>46.1</c:v>
                </c:pt>
                <c:pt idx="1770">
                  <c:v>46.85</c:v>
                </c:pt>
                <c:pt idx="1771">
                  <c:v>46.3</c:v>
                </c:pt>
                <c:pt idx="1772">
                  <c:v>48.9</c:v>
                </c:pt>
                <c:pt idx="1773">
                  <c:v>48.48</c:v>
                </c:pt>
                <c:pt idx="1774">
                  <c:v>48.74</c:v>
                </c:pt>
                <c:pt idx="1775">
                  <c:v>49.14</c:v>
                </c:pt>
                <c:pt idx="1778">
                  <c:v>49.71</c:v>
                </c:pt>
                <c:pt idx="1779">
                  <c:v>49.16</c:v>
                </c:pt>
                <c:pt idx="1780">
                  <c:v>45.56</c:v>
                </c:pt>
                <c:pt idx="1781">
                  <c:v>43.31</c:v>
                </c:pt>
                <c:pt idx="1782">
                  <c:v>42.56</c:v>
                </c:pt>
                <c:pt idx="1783">
                  <c:v>42.96</c:v>
                </c:pt>
                <c:pt idx="1784">
                  <c:v>41.51</c:v>
                </c:pt>
                <c:pt idx="1785">
                  <c:v>41.96</c:v>
                </c:pt>
                <c:pt idx="1786">
                  <c:v>42.41</c:v>
                </c:pt>
                <c:pt idx="1787">
                  <c:v>40.71</c:v>
                </c:pt>
                <c:pt idx="1788">
                  <c:v>41.06</c:v>
                </c:pt>
                <c:pt idx="1789">
                  <c:v>41.76</c:v>
                </c:pt>
                <c:pt idx="1790">
                  <c:v>44.21</c:v>
                </c:pt>
                <c:pt idx="1791">
                  <c:v>44.16</c:v>
                </c:pt>
                <c:pt idx="1792">
                  <c:v>46.31</c:v>
                </c:pt>
                <c:pt idx="1793">
                  <c:v>45.57</c:v>
                </c:pt>
                <c:pt idx="1794">
                  <c:v>45.76</c:v>
                </c:pt>
                <c:pt idx="1795">
                  <c:v>44.05</c:v>
                </c:pt>
                <c:pt idx="1796">
                  <c:v>42.19</c:v>
                </c:pt>
                <c:pt idx="1798">
                  <c:v>41.26</c:v>
                </c:pt>
                <c:pt idx="1799">
                  <c:v>41.78</c:v>
                </c:pt>
                <c:pt idx="1800">
                  <c:v>43.69</c:v>
                </c:pt>
                <c:pt idx="1801">
                  <c:v>43.36</c:v>
                </c:pt>
                <c:pt idx="1803">
                  <c:v>42.16</c:v>
                </c:pt>
                <c:pt idx="1804">
                  <c:v>43.96</c:v>
                </c:pt>
                <c:pt idx="1805">
                  <c:v>43.41</c:v>
                </c:pt>
                <c:pt idx="1806">
                  <c:v>45.51</c:v>
                </c:pt>
                <c:pt idx="1807">
                  <c:v>45.32</c:v>
                </c:pt>
                <c:pt idx="1808">
                  <c:v>45.31</c:v>
                </c:pt>
                <c:pt idx="1809">
                  <c:v>45.66</c:v>
                </c:pt>
                <c:pt idx="1810">
                  <c:v>46.46</c:v>
                </c:pt>
                <c:pt idx="1811">
                  <c:v>48.11</c:v>
                </c:pt>
                <c:pt idx="1812">
                  <c:v>48.41</c:v>
                </c:pt>
                <c:pt idx="1814">
                  <c:v>48.46</c:v>
                </c:pt>
                <c:pt idx="1815">
                  <c:v>47.61</c:v>
                </c:pt>
                <c:pt idx="1816">
                  <c:v>47.01</c:v>
                </c:pt>
                <c:pt idx="1817">
                  <c:v>48.31</c:v>
                </c:pt>
                <c:pt idx="1818">
                  <c:v>48.61</c:v>
                </c:pt>
                <c:pt idx="1819">
                  <c:v>49.43</c:v>
                </c:pt>
                <c:pt idx="1820">
                  <c:v>48.8</c:v>
                </c:pt>
                <c:pt idx="1821">
                  <c:v>48.8</c:v>
                </c:pt>
                <c:pt idx="1822">
                  <c:v>47.15</c:v>
                </c:pt>
                <c:pt idx="1823">
                  <c:v>48.25</c:v>
                </c:pt>
                <c:pt idx="1824">
                  <c:v>47.1</c:v>
                </c:pt>
                <c:pt idx="1825">
                  <c:v>46.65</c:v>
                </c:pt>
                <c:pt idx="1826">
                  <c:v>46.4</c:v>
                </c:pt>
                <c:pt idx="1827">
                  <c:v>46.45</c:v>
                </c:pt>
                <c:pt idx="1828">
                  <c:v>45.35</c:v>
                </c:pt>
                <c:pt idx="1829">
                  <c:v>45.4</c:v>
                </c:pt>
                <c:pt idx="1830">
                  <c:v>45.45</c:v>
                </c:pt>
                <c:pt idx="1831">
                  <c:v>47.05</c:v>
                </c:pt>
                <c:pt idx="1832">
                  <c:v>47.15</c:v>
                </c:pt>
                <c:pt idx="1833">
                  <c:v>47.5</c:v>
                </c:pt>
                <c:pt idx="1834">
                  <c:v>47.3</c:v>
                </c:pt>
                <c:pt idx="1835">
                  <c:v>48.35</c:v>
                </c:pt>
                <c:pt idx="1836">
                  <c:v>47.5</c:v>
                </c:pt>
                <c:pt idx="1837">
                  <c:v>48.45</c:v>
                </c:pt>
                <c:pt idx="1839">
                  <c:v>51</c:v>
                </c:pt>
                <c:pt idx="1840">
                  <c:v>51.73</c:v>
                </c:pt>
                <c:pt idx="1841">
                  <c:v>52.05</c:v>
                </c:pt>
                <c:pt idx="1842">
                  <c:v>52.2</c:v>
                </c:pt>
                <c:pt idx="1843">
                  <c:v>51.75</c:v>
                </c:pt>
                <c:pt idx="1844">
                  <c:v>51.67</c:v>
                </c:pt>
                <c:pt idx="1845">
                  <c:v>53</c:v>
                </c:pt>
                <c:pt idx="1846">
                  <c:v>53.6</c:v>
                </c:pt>
                <c:pt idx="1847">
                  <c:v>53.7</c:v>
                </c:pt>
                <c:pt idx="1848">
                  <c:v>53.9</c:v>
                </c:pt>
                <c:pt idx="1849">
                  <c:v>54.55</c:v>
                </c:pt>
                <c:pt idx="1850">
                  <c:v>54.75</c:v>
                </c:pt>
                <c:pt idx="1851">
                  <c:v>53.52</c:v>
                </c:pt>
                <c:pt idx="1852">
                  <c:v>54.4</c:v>
                </c:pt>
                <c:pt idx="1853">
                  <c:v>54.9</c:v>
                </c:pt>
                <c:pt idx="1854">
                  <c:v>55.05</c:v>
                </c:pt>
                <c:pt idx="1855">
                  <c:v>56.5</c:v>
                </c:pt>
                <c:pt idx="1856">
                  <c:v>56.4</c:v>
                </c:pt>
                <c:pt idx="1857">
                  <c:v>56.8</c:v>
                </c:pt>
                <c:pt idx="1858">
                  <c:v>56.7</c:v>
                </c:pt>
                <c:pt idx="1859">
                  <c:v>55.95</c:v>
                </c:pt>
                <c:pt idx="1860">
                  <c:v>49.43</c:v>
                </c:pt>
                <c:pt idx="1861">
                  <c:v>49.7</c:v>
                </c:pt>
                <c:pt idx="1862">
                  <c:v>54.06</c:v>
                </c:pt>
                <c:pt idx="1863">
                  <c:v>54.26</c:v>
                </c:pt>
                <c:pt idx="1864">
                  <c:v>53.96</c:v>
                </c:pt>
                <c:pt idx="1865">
                  <c:v>55.31</c:v>
                </c:pt>
                <c:pt idx="1866">
                  <c:v>57.26</c:v>
                </c:pt>
                <c:pt idx="1867">
                  <c:v>56.86</c:v>
                </c:pt>
                <c:pt idx="1868">
                  <c:v>55.83</c:v>
                </c:pt>
                <c:pt idx="1869">
                  <c:v>55.88</c:v>
                </c:pt>
                <c:pt idx="1870">
                  <c:v>54.16</c:v>
                </c:pt>
                <c:pt idx="1871">
                  <c:v>53.46</c:v>
                </c:pt>
                <c:pt idx="1872">
                  <c:v>53.71</c:v>
                </c:pt>
                <c:pt idx="1873">
                  <c:v>51.54</c:v>
                </c:pt>
                <c:pt idx="1874">
                  <c:v>50.21</c:v>
                </c:pt>
                <c:pt idx="1875">
                  <c:v>51.11</c:v>
                </c:pt>
                <c:pt idx="1876">
                  <c:v>50.61</c:v>
                </c:pt>
                <c:pt idx="1877">
                  <c:v>50.52</c:v>
                </c:pt>
                <c:pt idx="1878">
                  <c:v>52.33</c:v>
                </c:pt>
                <c:pt idx="1879">
                  <c:v>52.45</c:v>
                </c:pt>
                <c:pt idx="1880">
                  <c:v>52.49</c:v>
                </c:pt>
                <c:pt idx="1881">
                  <c:v>54.16</c:v>
                </c:pt>
                <c:pt idx="1882">
                  <c:v>53.16</c:v>
                </c:pt>
                <c:pt idx="1883">
                  <c:v>54.33</c:v>
                </c:pt>
                <c:pt idx="1884">
                  <c:v>51.37</c:v>
                </c:pt>
                <c:pt idx="1885">
                  <c:v>51.92</c:v>
                </c:pt>
                <c:pt idx="1886">
                  <c:v>49.2</c:v>
                </c:pt>
                <c:pt idx="1887">
                  <c:v>50.94</c:v>
                </c:pt>
                <c:pt idx="1888">
                  <c:v>49.6</c:v>
                </c:pt>
                <c:pt idx="1889">
                  <c:v>50.22</c:v>
                </c:pt>
                <c:pt idx="1890">
                  <c:v>51.12</c:v>
                </c:pt>
                <c:pt idx="1891">
                  <c:v>51.3</c:v>
                </c:pt>
                <c:pt idx="1892">
                  <c:v>52.04</c:v>
                </c:pt>
                <c:pt idx="1893">
                  <c:v>51.76</c:v>
                </c:pt>
                <c:pt idx="1894">
                  <c:v>50.39</c:v>
                </c:pt>
                <c:pt idx="1895">
                  <c:v>48.83</c:v>
                </c:pt>
                <c:pt idx="1896">
                  <c:v>48.65</c:v>
                </c:pt>
                <c:pt idx="1897">
                  <c:v>48.64</c:v>
                </c:pt>
                <c:pt idx="1898">
                  <c:v>48.97</c:v>
                </c:pt>
                <c:pt idx="1899">
                  <c:v>46.99</c:v>
                </c:pt>
                <c:pt idx="1900">
                  <c:v>47</c:v>
                </c:pt>
                <c:pt idx="1901">
                  <c:v>47.25</c:v>
                </c:pt>
                <c:pt idx="1902">
                  <c:v>48.68</c:v>
                </c:pt>
                <c:pt idx="1903">
                  <c:v>49.14</c:v>
                </c:pt>
                <c:pt idx="1904">
                  <c:v>50.37</c:v>
                </c:pt>
                <c:pt idx="1905">
                  <c:v>50.89</c:v>
                </c:pt>
                <c:pt idx="1906">
                  <c:v>51.65</c:v>
                </c:pt>
                <c:pt idx="1908">
                  <c:v>52.08</c:v>
                </c:pt>
                <c:pt idx="1909">
                  <c:v>54.4</c:v>
                </c:pt>
                <c:pt idx="1910">
                  <c:v>53.46</c:v>
                </c:pt>
                <c:pt idx="1911">
                  <c:v>55.08</c:v>
                </c:pt>
                <c:pt idx="1912">
                  <c:v>54.46</c:v>
                </c:pt>
                <c:pt idx="1913">
                  <c:v>53.84</c:v>
                </c:pt>
                <c:pt idx="1914">
                  <c:v>52.51</c:v>
                </c:pt>
                <c:pt idx="1915">
                  <c:v>54.36</c:v>
                </c:pt>
                <c:pt idx="1916">
                  <c:v>53.55</c:v>
                </c:pt>
                <c:pt idx="1917">
                  <c:v>55.47</c:v>
                </c:pt>
                <c:pt idx="1918">
                  <c:v>55.03</c:v>
                </c:pt>
                <c:pt idx="1919">
                  <c:v>55.53</c:v>
                </c:pt>
                <c:pt idx="1920">
                  <c:v>56.48</c:v>
                </c:pt>
                <c:pt idx="1921">
                  <c:v>58.4</c:v>
                </c:pt>
                <c:pt idx="1922">
                  <c:v>59.19</c:v>
                </c:pt>
                <c:pt idx="1923">
                  <c:v>58.9</c:v>
                </c:pt>
                <c:pt idx="1924">
                  <c:v>58.27</c:v>
                </c:pt>
                <c:pt idx="1925">
                  <c:v>59.23</c:v>
                </c:pt>
                <c:pt idx="1926">
                  <c:v>59.63</c:v>
                </c:pt>
                <c:pt idx="1927">
                  <c:v>59.78</c:v>
                </c:pt>
                <c:pt idx="1928">
                  <c:v>58.32</c:v>
                </c:pt>
                <c:pt idx="1929">
                  <c:v>57.23</c:v>
                </c:pt>
                <c:pt idx="1930">
                  <c:v>56.63</c:v>
                </c:pt>
                <c:pt idx="1931">
                  <c:v>59.11</c:v>
                </c:pt>
                <c:pt idx="1933">
                  <c:v>59.71</c:v>
                </c:pt>
                <c:pt idx="1934">
                  <c:v>61.24</c:v>
                </c:pt>
                <c:pt idx="1935">
                  <c:v>60.76</c:v>
                </c:pt>
                <c:pt idx="1936">
                  <c:v>59.71</c:v>
                </c:pt>
                <c:pt idx="1937">
                  <c:v>59.23</c:v>
                </c:pt>
                <c:pt idx="1938">
                  <c:v>60.49</c:v>
                </c:pt>
                <c:pt idx="1939">
                  <c:v>60</c:v>
                </c:pt>
                <c:pt idx="1940">
                  <c:v>57.83</c:v>
                </c:pt>
                <c:pt idx="1941">
                  <c:v>58.36</c:v>
                </c:pt>
                <c:pt idx="1942">
                  <c:v>57.12</c:v>
                </c:pt>
                <c:pt idx="1943">
                  <c:v>57.61</c:v>
                </c:pt>
                <c:pt idx="1944">
                  <c:v>56.73</c:v>
                </c:pt>
                <c:pt idx="1945">
                  <c:v>57.31</c:v>
                </c:pt>
                <c:pt idx="1946">
                  <c:v>57.75</c:v>
                </c:pt>
                <c:pt idx="1947">
                  <c:v>58.16</c:v>
                </c:pt>
                <c:pt idx="1948">
                  <c:v>59.05</c:v>
                </c:pt>
                <c:pt idx="1949">
                  <c:v>59.12</c:v>
                </c:pt>
                <c:pt idx="1950">
                  <c:v>59.91</c:v>
                </c:pt>
                <c:pt idx="1951">
                  <c:v>60.71</c:v>
                </c:pt>
                <c:pt idx="1952">
                  <c:v>61.51</c:v>
                </c:pt>
                <c:pt idx="1953">
                  <c:v>61.87</c:v>
                </c:pt>
                <c:pt idx="1954">
                  <c:v>60.76</c:v>
                </c:pt>
                <c:pt idx="1955">
                  <c:v>61.6</c:v>
                </c:pt>
                <c:pt idx="1956">
                  <c:v>62.44</c:v>
                </c:pt>
                <c:pt idx="1957">
                  <c:v>63.92</c:v>
                </c:pt>
                <c:pt idx="1958">
                  <c:v>63.13</c:v>
                </c:pt>
                <c:pt idx="1959">
                  <c:v>64.8</c:v>
                </c:pt>
                <c:pt idx="1960">
                  <c:v>65.67</c:v>
                </c:pt>
                <c:pt idx="1961">
                  <c:v>66.709999999999994</c:v>
                </c:pt>
                <c:pt idx="1962">
                  <c:v>66.209999999999994</c:v>
                </c:pt>
                <c:pt idx="1963">
                  <c:v>66.11</c:v>
                </c:pt>
                <c:pt idx="1964">
                  <c:v>63.29</c:v>
                </c:pt>
                <c:pt idx="1965">
                  <c:v>63.47</c:v>
                </c:pt>
                <c:pt idx="1966">
                  <c:v>65.510000000000005</c:v>
                </c:pt>
                <c:pt idx="1967">
                  <c:v>65.459999999999994</c:v>
                </c:pt>
                <c:pt idx="1968">
                  <c:v>65.81</c:v>
                </c:pt>
                <c:pt idx="1969">
                  <c:v>67.099999999999994</c:v>
                </c:pt>
                <c:pt idx="1970">
                  <c:v>67.290000000000006</c:v>
                </c:pt>
                <c:pt idx="1971">
                  <c:v>66.05</c:v>
                </c:pt>
                <c:pt idx="1972">
                  <c:v>67.41</c:v>
                </c:pt>
                <c:pt idx="1973">
                  <c:v>69.91</c:v>
                </c:pt>
                <c:pt idx="1974">
                  <c:v>68.63</c:v>
                </c:pt>
                <c:pt idx="1975">
                  <c:v>69.5</c:v>
                </c:pt>
                <c:pt idx="1976">
                  <c:v>66.91</c:v>
                </c:pt>
                <c:pt idx="1978">
                  <c:v>65.83</c:v>
                </c:pt>
                <c:pt idx="1979">
                  <c:v>64.38</c:v>
                </c:pt>
                <c:pt idx="1980">
                  <c:v>64.8</c:v>
                </c:pt>
                <c:pt idx="1981">
                  <c:v>64.209999999999994</c:v>
                </c:pt>
                <c:pt idx="1982">
                  <c:v>63.29</c:v>
                </c:pt>
                <c:pt idx="1983">
                  <c:v>63.18</c:v>
                </c:pt>
                <c:pt idx="1984">
                  <c:v>65.2</c:v>
                </c:pt>
                <c:pt idx="1985">
                  <c:v>64.64</c:v>
                </c:pt>
                <c:pt idx="1986">
                  <c:v>62.91</c:v>
                </c:pt>
                <c:pt idx="1987">
                  <c:v>67.209999999999994</c:v>
                </c:pt>
                <c:pt idx="1988">
                  <c:v>66.239999999999995</c:v>
                </c:pt>
                <c:pt idx="1989">
                  <c:v>66.959999999999994</c:v>
                </c:pt>
                <c:pt idx="1990">
                  <c:v>67.069999999999993</c:v>
                </c:pt>
                <c:pt idx="1991">
                  <c:v>64.67</c:v>
                </c:pt>
                <c:pt idx="1992">
                  <c:v>65.98</c:v>
                </c:pt>
                <c:pt idx="1993">
                  <c:v>64.94</c:v>
                </c:pt>
                <c:pt idx="1994">
                  <c:v>66.36</c:v>
                </c:pt>
                <c:pt idx="1995">
                  <c:v>66.83</c:v>
                </c:pt>
                <c:pt idx="1996">
                  <c:v>66.209999999999994</c:v>
                </c:pt>
                <c:pt idx="1997">
                  <c:v>65.36</c:v>
                </c:pt>
                <c:pt idx="1998">
                  <c:v>63.74</c:v>
                </c:pt>
                <c:pt idx="1999">
                  <c:v>62.56</c:v>
                </c:pt>
                <c:pt idx="2000">
                  <c:v>61.81</c:v>
                </c:pt>
                <c:pt idx="2001">
                  <c:v>61.81</c:v>
                </c:pt>
                <c:pt idx="2002">
                  <c:v>60.71</c:v>
                </c:pt>
                <c:pt idx="2003">
                  <c:v>63.84</c:v>
                </c:pt>
                <c:pt idx="2004">
                  <c:v>64.13</c:v>
                </c:pt>
                <c:pt idx="2005">
                  <c:v>63.05</c:v>
                </c:pt>
                <c:pt idx="2006">
                  <c:v>62.61</c:v>
                </c:pt>
                <c:pt idx="2007">
                  <c:v>64.260000000000005</c:v>
                </c:pt>
                <c:pt idx="2008">
                  <c:v>62.94</c:v>
                </c:pt>
                <c:pt idx="2009">
                  <c:v>62.11</c:v>
                </c:pt>
                <c:pt idx="2010">
                  <c:v>61.04</c:v>
                </c:pt>
                <c:pt idx="2011">
                  <c:v>61.05</c:v>
                </c:pt>
                <c:pt idx="2012">
                  <c:v>60.63</c:v>
                </c:pt>
                <c:pt idx="2013">
                  <c:v>62.83</c:v>
                </c:pt>
                <c:pt idx="2014">
                  <c:v>60.85</c:v>
                </c:pt>
                <c:pt idx="2015">
                  <c:v>61.03</c:v>
                </c:pt>
                <c:pt idx="2016">
                  <c:v>61.3</c:v>
                </c:pt>
                <c:pt idx="2017">
                  <c:v>59.8</c:v>
                </c:pt>
                <c:pt idx="2018">
                  <c:v>59.85</c:v>
                </c:pt>
                <c:pt idx="2019">
                  <c:v>59.75</c:v>
                </c:pt>
                <c:pt idx="2020">
                  <c:v>61.7</c:v>
                </c:pt>
                <c:pt idx="2021">
                  <c:v>60.6</c:v>
                </c:pt>
                <c:pt idx="2022">
                  <c:v>59.4</c:v>
                </c:pt>
                <c:pt idx="2023">
                  <c:v>59.7</c:v>
                </c:pt>
                <c:pt idx="2024">
                  <c:v>59.65</c:v>
                </c:pt>
                <c:pt idx="2025">
                  <c:v>57.8</c:v>
                </c:pt>
                <c:pt idx="2026">
                  <c:v>57.45</c:v>
                </c:pt>
                <c:pt idx="2027">
                  <c:v>57.6</c:v>
                </c:pt>
                <c:pt idx="2028">
                  <c:v>57.05</c:v>
                </c:pt>
                <c:pt idx="2029">
                  <c:v>57.85</c:v>
                </c:pt>
                <c:pt idx="2030">
                  <c:v>56.2</c:v>
                </c:pt>
                <c:pt idx="2031">
                  <c:v>56.3</c:v>
                </c:pt>
                <c:pt idx="2032">
                  <c:v>57.75</c:v>
                </c:pt>
                <c:pt idx="2033">
                  <c:v>58.3</c:v>
                </c:pt>
                <c:pt idx="2034">
                  <c:v>58.35</c:v>
                </c:pt>
                <c:pt idx="2037">
                  <c:v>57.36</c:v>
                </c:pt>
                <c:pt idx="2038">
                  <c:v>56.46</c:v>
                </c:pt>
                <c:pt idx="2039">
                  <c:v>57.33</c:v>
                </c:pt>
                <c:pt idx="2040">
                  <c:v>58.46</c:v>
                </c:pt>
                <c:pt idx="2041">
                  <c:v>59.31</c:v>
                </c:pt>
                <c:pt idx="2042">
                  <c:v>59.91</c:v>
                </c:pt>
                <c:pt idx="2043">
                  <c:v>59.96</c:v>
                </c:pt>
                <c:pt idx="2044">
                  <c:v>59.21</c:v>
                </c:pt>
                <c:pt idx="2045">
                  <c:v>60.66</c:v>
                </c:pt>
                <c:pt idx="2046">
                  <c:v>59.41</c:v>
                </c:pt>
                <c:pt idx="2047">
                  <c:v>61.36</c:v>
                </c:pt>
                <c:pt idx="2048">
                  <c:v>61.36</c:v>
                </c:pt>
                <c:pt idx="2049">
                  <c:v>60.86</c:v>
                </c:pt>
                <c:pt idx="2050">
                  <c:v>60.01</c:v>
                </c:pt>
                <c:pt idx="2051">
                  <c:v>58.01</c:v>
                </c:pt>
                <c:pt idx="2052">
                  <c:v>57.31</c:v>
                </c:pt>
                <c:pt idx="2053">
                  <c:v>57.81</c:v>
                </c:pt>
                <c:pt idx="2054">
                  <c:v>58.56</c:v>
                </c:pt>
                <c:pt idx="2055">
                  <c:v>58.08</c:v>
                </c:pt>
                <c:pt idx="2056">
                  <c:v>58.08</c:v>
                </c:pt>
                <c:pt idx="2058">
                  <c:v>58.16</c:v>
                </c:pt>
                <c:pt idx="2059">
                  <c:v>59.81</c:v>
                </c:pt>
                <c:pt idx="2060">
                  <c:v>60.26</c:v>
                </c:pt>
                <c:pt idx="2061">
                  <c:v>61.06</c:v>
                </c:pt>
                <c:pt idx="2062">
                  <c:v>63.11</c:v>
                </c:pt>
                <c:pt idx="2063">
                  <c:v>63.41</c:v>
                </c:pt>
                <c:pt idx="2064">
                  <c:v>62.81</c:v>
                </c:pt>
                <c:pt idx="2065">
                  <c:v>64.209999999999994</c:v>
                </c:pt>
                <c:pt idx="2066">
                  <c:v>63.56</c:v>
                </c:pt>
                <c:pt idx="2067">
                  <c:v>63.41</c:v>
                </c:pt>
                <c:pt idx="2068">
                  <c:v>63.91</c:v>
                </c:pt>
                <c:pt idx="2069">
                  <c:v>63.96</c:v>
                </c:pt>
                <c:pt idx="2070">
                  <c:v>63.86</c:v>
                </c:pt>
                <c:pt idx="2072">
                  <c:v>66.36</c:v>
                </c:pt>
                <c:pt idx="2073">
                  <c:v>65.760000000000005</c:v>
                </c:pt>
                <c:pt idx="2074">
                  <c:v>66.86</c:v>
                </c:pt>
                <c:pt idx="2075">
                  <c:v>68.16</c:v>
                </c:pt>
                <c:pt idx="2076">
                  <c:v>68.06</c:v>
                </c:pt>
                <c:pt idx="2077">
                  <c:v>66.83</c:v>
                </c:pt>
                <c:pt idx="2078">
                  <c:v>65.599999999999994</c:v>
                </c:pt>
                <c:pt idx="2079">
                  <c:v>65.8</c:v>
                </c:pt>
                <c:pt idx="2080">
                  <c:v>67.81</c:v>
                </c:pt>
                <c:pt idx="2081">
                  <c:v>68.36</c:v>
                </c:pt>
                <c:pt idx="2082">
                  <c:v>67.86</c:v>
                </c:pt>
                <c:pt idx="2083">
                  <c:v>66.61</c:v>
                </c:pt>
                <c:pt idx="2084">
                  <c:v>64.709999999999994</c:v>
                </c:pt>
                <c:pt idx="2085">
                  <c:v>65.41</c:v>
                </c:pt>
                <c:pt idx="2086">
                  <c:v>65.11</c:v>
                </c:pt>
                <c:pt idx="2087">
                  <c:v>63.01</c:v>
                </c:pt>
                <c:pt idx="2088">
                  <c:v>62.51</c:v>
                </c:pt>
                <c:pt idx="2089">
                  <c:v>62.66</c:v>
                </c:pt>
                <c:pt idx="2090">
                  <c:v>62.01</c:v>
                </c:pt>
                <c:pt idx="2091">
                  <c:v>61.26</c:v>
                </c:pt>
                <c:pt idx="2092">
                  <c:v>59.61</c:v>
                </c:pt>
                <c:pt idx="2093">
                  <c:v>57.61</c:v>
                </c:pt>
                <c:pt idx="2094">
                  <c:v>58.61</c:v>
                </c:pt>
                <c:pt idx="2095">
                  <c:v>59.76</c:v>
                </c:pt>
                <c:pt idx="2097">
                  <c:v>61.21</c:v>
                </c:pt>
                <c:pt idx="2098">
                  <c:v>59.03</c:v>
                </c:pt>
                <c:pt idx="2099">
                  <c:v>58.03</c:v>
                </c:pt>
                <c:pt idx="2100">
                  <c:v>61.46</c:v>
                </c:pt>
                <c:pt idx="2101">
                  <c:v>61.01</c:v>
                </c:pt>
                <c:pt idx="2102">
                  <c:v>61.37</c:v>
                </c:pt>
                <c:pt idx="2103">
                  <c:v>62.01</c:v>
                </c:pt>
                <c:pt idx="2104">
                  <c:v>63.36</c:v>
                </c:pt>
                <c:pt idx="2105">
                  <c:v>63.61</c:v>
                </c:pt>
                <c:pt idx="2106">
                  <c:v>62.46</c:v>
                </c:pt>
                <c:pt idx="2107">
                  <c:v>61.51</c:v>
                </c:pt>
                <c:pt idx="2108">
                  <c:v>60.06</c:v>
                </c:pt>
                <c:pt idx="2109">
                  <c:v>60.51</c:v>
                </c:pt>
                <c:pt idx="2110">
                  <c:v>59.91</c:v>
                </c:pt>
                <c:pt idx="2111">
                  <c:v>61.81</c:v>
                </c:pt>
                <c:pt idx="2112">
                  <c:v>63.01</c:v>
                </c:pt>
                <c:pt idx="2113">
                  <c:v>62.11</c:v>
                </c:pt>
                <c:pt idx="2114">
                  <c:v>63.46</c:v>
                </c:pt>
                <c:pt idx="2115">
                  <c:v>62.81</c:v>
                </c:pt>
                <c:pt idx="2116">
                  <c:v>60.31</c:v>
                </c:pt>
                <c:pt idx="2117">
                  <c:v>60.41</c:v>
                </c:pt>
                <c:pt idx="2118">
                  <c:v>60.03</c:v>
                </c:pt>
                <c:pt idx="2119">
                  <c:v>62.13</c:v>
                </c:pt>
                <c:pt idx="2120">
                  <c:v>63.9</c:v>
                </c:pt>
                <c:pt idx="2121">
                  <c:v>63.75</c:v>
                </c:pt>
                <c:pt idx="2122">
                  <c:v>65.650000000000006</c:v>
                </c:pt>
                <c:pt idx="2123">
                  <c:v>66</c:v>
                </c:pt>
                <c:pt idx="2124">
                  <c:v>66.7</c:v>
                </c:pt>
                <c:pt idx="2125">
                  <c:v>66.25</c:v>
                </c:pt>
                <c:pt idx="2126">
                  <c:v>66.069999999999993</c:v>
                </c:pt>
                <c:pt idx="2127">
                  <c:v>65.75</c:v>
                </c:pt>
                <c:pt idx="2128">
                  <c:v>66.760000000000005</c:v>
                </c:pt>
                <c:pt idx="2129">
                  <c:v>67.22</c:v>
                </c:pt>
                <c:pt idx="2130">
                  <c:v>67.02</c:v>
                </c:pt>
                <c:pt idx="2131">
                  <c:v>68.290000000000006</c:v>
                </c:pt>
                <c:pt idx="2132">
                  <c:v>69.03</c:v>
                </c:pt>
                <c:pt idx="2133">
                  <c:v>68.53</c:v>
                </c:pt>
                <c:pt idx="2134">
                  <c:v>69.53</c:v>
                </c:pt>
                <c:pt idx="2135">
                  <c:v>70.3</c:v>
                </c:pt>
                <c:pt idx="2136">
                  <c:v>71.28</c:v>
                </c:pt>
                <c:pt idx="2137">
                  <c:v>72.069999999999993</c:v>
                </c:pt>
                <c:pt idx="2138">
                  <c:v>71.959999999999994</c:v>
                </c:pt>
                <c:pt idx="2139">
                  <c:v>73.73</c:v>
                </c:pt>
                <c:pt idx="2140">
                  <c:v>70.19</c:v>
                </c:pt>
                <c:pt idx="2141">
                  <c:v>67.430000000000007</c:v>
                </c:pt>
                <c:pt idx="2142">
                  <c:v>71.709999999999994</c:v>
                </c:pt>
                <c:pt idx="2143">
                  <c:v>70.760000000000005</c:v>
                </c:pt>
                <c:pt idx="2144">
                  <c:v>71.8</c:v>
                </c:pt>
                <c:pt idx="2145">
                  <c:v>73.75</c:v>
                </c:pt>
                <c:pt idx="2146">
                  <c:v>74.62</c:v>
                </c:pt>
                <c:pt idx="2147">
                  <c:v>72.260000000000005</c:v>
                </c:pt>
                <c:pt idx="2148">
                  <c:v>69.98</c:v>
                </c:pt>
                <c:pt idx="2149">
                  <c:v>70.09</c:v>
                </c:pt>
                <c:pt idx="2150">
                  <c:v>69.75</c:v>
                </c:pt>
                <c:pt idx="2151">
                  <c:v>70.709999999999994</c:v>
                </c:pt>
                <c:pt idx="2152">
                  <c:v>72.150000000000006</c:v>
                </c:pt>
                <c:pt idx="2153">
                  <c:v>73</c:v>
                </c:pt>
                <c:pt idx="2154">
                  <c:v>71.87</c:v>
                </c:pt>
                <c:pt idx="2155">
                  <c:v>69.25</c:v>
                </c:pt>
                <c:pt idx="2156">
                  <c:v>69.400000000000006</c:v>
                </c:pt>
                <c:pt idx="2157">
                  <c:v>68.650000000000006</c:v>
                </c:pt>
                <c:pt idx="2158">
                  <c:v>69.63</c:v>
                </c:pt>
                <c:pt idx="2159">
                  <c:v>68.44</c:v>
                </c:pt>
                <c:pt idx="2160">
                  <c:v>69.23</c:v>
                </c:pt>
                <c:pt idx="2161">
                  <c:v>70.78</c:v>
                </c:pt>
                <c:pt idx="2162">
                  <c:v>69.47</c:v>
                </c:pt>
                <c:pt idx="2163">
                  <c:v>70.92</c:v>
                </c:pt>
                <c:pt idx="2164">
                  <c:v>71.349999999999994</c:v>
                </c:pt>
                <c:pt idx="2166">
                  <c:v>71.849999999999994</c:v>
                </c:pt>
                <c:pt idx="2167">
                  <c:v>71.42</c:v>
                </c:pt>
                <c:pt idx="2168">
                  <c:v>70.11</c:v>
                </c:pt>
                <c:pt idx="2169">
                  <c:v>72.73</c:v>
                </c:pt>
                <c:pt idx="2170">
                  <c:v>72.5</c:v>
                </c:pt>
                <c:pt idx="2171">
                  <c:v>72.430000000000007</c:v>
                </c:pt>
                <c:pt idx="2172">
                  <c:v>70.900000000000006</c:v>
                </c:pt>
                <c:pt idx="2173">
                  <c:v>70.25</c:v>
                </c:pt>
                <c:pt idx="2174">
                  <c:v>71.62</c:v>
                </c:pt>
                <c:pt idx="2175">
                  <c:v>70.28</c:v>
                </c:pt>
                <c:pt idx="2176">
                  <c:v>68.48</c:v>
                </c:pt>
                <c:pt idx="2177">
                  <c:v>69.12</c:v>
                </c:pt>
                <c:pt idx="2178">
                  <c:v>69.78</c:v>
                </c:pt>
                <c:pt idx="2179">
                  <c:v>69.75</c:v>
                </c:pt>
                <c:pt idx="2180">
                  <c:v>69.209999999999994</c:v>
                </c:pt>
                <c:pt idx="2181">
                  <c:v>69.3</c:v>
                </c:pt>
                <c:pt idx="2182">
                  <c:v>70.069999999999993</c:v>
                </c:pt>
                <c:pt idx="2183">
                  <c:v>70.62</c:v>
                </c:pt>
                <c:pt idx="2184">
                  <c:v>70.5</c:v>
                </c:pt>
                <c:pt idx="2185">
                  <c:v>71.63</c:v>
                </c:pt>
                <c:pt idx="2186">
                  <c:v>72.05</c:v>
                </c:pt>
                <c:pt idx="2187">
                  <c:v>72.150000000000006</c:v>
                </c:pt>
                <c:pt idx="2188">
                  <c:v>73.5</c:v>
                </c:pt>
                <c:pt idx="2189">
                  <c:v>73.94</c:v>
                </c:pt>
                <c:pt idx="2192">
                  <c:v>75.2</c:v>
                </c:pt>
                <c:pt idx="2193">
                  <c:v>75</c:v>
                </c:pt>
                <c:pt idx="2194">
                  <c:v>73.760000000000005</c:v>
                </c:pt>
                <c:pt idx="2195">
                  <c:v>73.5</c:v>
                </c:pt>
                <c:pt idx="2196">
                  <c:v>74.05</c:v>
                </c:pt>
                <c:pt idx="2197">
                  <c:v>74.989999999999995</c:v>
                </c:pt>
                <c:pt idx="2198">
                  <c:v>76.7</c:v>
                </c:pt>
                <c:pt idx="2199">
                  <c:v>76.8</c:v>
                </c:pt>
                <c:pt idx="2200">
                  <c:v>75.7</c:v>
                </c:pt>
                <c:pt idx="2201">
                  <c:v>73.87</c:v>
                </c:pt>
                <c:pt idx="2202">
                  <c:v>72.790000000000006</c:v>
                </c:pt>
                <c:pt idx="2203">
                  <c:v>74</c:v>
                </c:pt>
                <c:pt idx="2204">
                  <c:v>73.52</c:v>
                </c:pt>
                <c:pt idx="2205">
                  <c:v>74.290000000000006</c:v>
                </c:pt>
                <c:pt idx="2206">
                  <c:v>73.459999999999994</c:v>
                </c:pt>
                <c:pt idx="2207">
                  <c:v>73.819999999999993</c:v>
                </c:pt>
                <c:pt idx="2208">
                  <c:v>74.5</c:v>
                </c:pt>
                <c:pt idx="2209">
                  <c:v>73.3</c:v>
                </c:pt>
                <c:pt idx="2210">
                  <c:v>74.56</c:v>
                </c:pt>
                <c:pt idx="2211">
                  <c:v>74.930000000000007</c:v>
                </c:pt>
                <c:pt idx="2212">
                  <c:v>76.16</c:v>
                </c:pt>
                <c:pt idx="2213">
                  <c:v>75.59</c:v>
                </c:pt>
                <c:pt idx="2214">
                  <c:v>74.78</c:v>
                </c:pt>
                <c:pt idx="2215">
                  <c:v>77.05</c:v>
                </c:pt>
                <c:pt idx="2216">
                  <c:v>76.290000000000006</c:v>
                </c:pt>
                <c:pt idx="2217">
                  <c:v>76.28</c:v>
                </c:pt>
                <c:pt idx="2218">
                  <c:v>74.17</c:v>
                </c:pt>
                <c:pt idx="2219">
                  <c:v>74.38</c:v>
                </c:pt>
                <c:pt idx="2220">
                  <c:v>73.33</c:v>
                </c:pt>
                <c:pt idx="2221">
                  <c:v>72.95</c:v>
                </c:pt>
                <c:pt idx="2222">
                  <c:v>71.64</c:v>
                </c:pt>
                <c:pt idx="2223">
                  <c:v>70.12</c:v>
                </c:pt>
                <c:pt idx="2224">
                  <c:v>70.930000000000007</c:v>
                </c:pt>
                <c:pt idx="2225">
                  <c:v>72.45</c:v>
                </c:pt>
                <c:pt idx="2226">
                  <c:v>72.55</c:v>
                </c:pt>
                <c:pt idx="2227">
                  <c:v>71.45</c:v>
                </c:pt>
                <c:pt idx="2228">
                  <c:v>72.02</c:v>
                </c:pt>
                <c:pt idx="2229">
                  <c:v>72.13</c:v>
                </c:pt>
                <c:pt idx="2230">
                  <c:v>70.47</c:v>
                </c:pt>
                <c:pt idx="2231">
                  <c:v>69.739999999999995</c:v>
                </c:pt>
                <c:pt idx="2232">
                  <c:v>70.2</c:v>
                </c:pt>
                <c:pt idx="2233">
                  <c:v>70.38</c:v>
                </c:pt>
                <c:pt idx="2234">
                  <c:v>69.239999999999995</c:v>
                </c:pt>
                <c:pt idx="2236">
                  <c:v>68.7</c:v>
                </c:pt>
                <c:pt idx="2237">
                  <c:v>67.75</c:v>
                </c:pt>
                <c:pt idx="2238">
                  <c:v>67.37</c:v>
                </c:pt>
                <c:pt idx="2239">
                  <c:v>66.3</c:v>
                </c:pt>
                <c:pt idx="2240">
                  <c:v>65.42</c:v>
                </c:pt>
                <c:pt idx="2241">
                  <c:v>63.81</c:v>
                </c:pt>
                <c:pt idx="2242">
                  <c:v>64.09</c:v>
                </c:pt>
                <c:pt idx="2243">
                  <c:v>63.27</c:v>
                </c:pt>
                <c:pt idx="2244">
                  <c:v>63.3</c:v>
                </c:pt>
                <c:pt idx="2245">
                  <c:v>63.84</c:v>
                </c:pt>
                <c:pt idx="2246">
                  <c:v>61.77</c:v>
                </c:pt>
                <c:pt idx="2247">
                  <c:v>60</c:v>
                </c:pt>
                <c:pt idx="2248">
                  <c:v>61.62</c:v>
                </c:pt>
                <c:pt idx="2249">
                  <c:v>59.79</c:v>
                </c:pt>
                <c:pt idx="2250">
                  <c:v>60.74</c:v>
                </c:pt>
                <c:pt idx="2251">
                  <c:v>60.63</c:v>
                </c:pt>
                <c:pt idx="2252">
                  <c:v>62.96</c:v>
                </c:pt>
                <c:pt idx="2253">
                  <c:v>62.46</c:v>
                </c:pt>
                <c:pt idx="2254">
                  <c:v>62.9</c:v>
                </c:pt>
                <c:pt idx="2255">
                  <c:v>60.96</c:v>
                </c:pt>
                <c:pt idx="2256">
                  <c:v>58.64</c:v>
                </c:pt>
                <c:pt idx="2257">
                  <c:v>59.53</c:v>
                </c:pt>
                <c:pt idx="2258">
                  <c:v>60.02</c:v>
                </c:pt>
                <c:pt idx="2259">
                  <c:v>59.68</c:v>
                </c:pt>
                <c:pt idx="2260">
                  <c:v>59.93</c:v>
                </c:pt>
                <c:pt idx="2261">
                  <c:v>58.5</c:v>
                </c:pt>
                <c:pt idx="2262">
                  <c:v>57.56</c:v>
                </c:pt>
                <c:pt idx="2263">
                  <c:v>58.23</c:v>
                </c:pt>
                <c:pt idx="2264">
                  <c:v>58.69</c:v>
                </c:pt>
                <c:pt idx="2265">
                  <c:v>59.91</c:v>
                </c:pt>
                <c:pt idx="2266">
                  <c:v>58.91</c:v>
                </c:pt>
                <c:pt idx="2267">
                  <c:v>57.66</c:v>
                </c:pt>
                <c:pt idx="2268">
                  <c:v>58.55</c:v>
                </c:pt>
                <c:pt idx="2269">
                  <c:v>57.35</c:v>
                </c:pt>
                <c:pt idx="2270">
                  <c:v>56.74</c:v>
                </c:pt>
                <c:pt idx="2271">
                  <c:v>57.55</c:v>
                </c:pt>
                <c:pt idx="2272">
                  <c:v>59.09</c:v>
                </c:pt>
                <c:pt idx="2273">
                  <c:v>60.27</c:v>
                </c:pt>
                <c:pt idx="2274">
                  <c:v>60.75</c:v>
                </c:pt>
                <c:pt idx="2275">
                  <c:v>58.41</c:v>
                </c:pt>
                <c:pt idx="2276">
                  <c:v>58.72</c:v>
                </c:pt>
                <c:pt idx="2277">
                  <c:v>58.64</c:v>
                </c:pt>
                <c:pt idx="2278">
                  <c:v>57.87</c:v>
                </c:pt>
                <c:pt idx="2279">
                  <c:v>59.13</c:v>
                </c:pt>
                <c:pt idx="2280">
                  <c:v>60.11</c:v>
                </c:pt>
                <c:pt idx="2281">
                  <c:v>58.94</c:v>
                </c:pt>
                <c:pt idx="2282">
                  <c:v>59.93</c:v>
                </c:pt>
                <c:pt idx="2283">
                  <c:v>61.18</c:v>
                </c:pt>
                <c:pt idx="2284">
                  <c:v>59.66</c:v>
                </c:pt>
                <c:pt idx="2285">
                  <c:v>58.59</c:v>
                </c:pt>
                <c:pt idx="2286">
                  <c:v>58.28</c:v>
                </c:pt>
                <c:pt idx="2287">
                  <c:v>58.79</c:v>
                </c:pt>
                <c:pt idx="2288">
                  <c:v>56.23</c:v>
                </c:pt>
                <c:pt idx="2289">
                  <c:v>55.9</c:v>
                </c:pt>
                <c:pt idx="2290">
                  <c:v>56.42</c:v>
                </c:pt>
                <c:pt idx="2291">
                  <c:v>58.01</c:v>
                </c:pt>
                <c:pt idx="2292">
                  <c:v>57.28</c:v>
                </c:pt>
                <c:pt idx="2295">
                  <c:v>60.3</c:v>
                </c:pt>
                <c:pt idx="2296">
                  <c:v>60.97</c:v>
                </c:pt>
                <c:pt idx="2297">
                  <c:v>62.45</c:v>
                </c:pt>
                <c:pt idx="2298">
                  <c:v>62.97</c:v>
                </c:pt>
                <c:pt idx="2299">
                  <c:v>63.43</c:v>
                </c:pt>
                <c:pt idx="2300">
                  <c:v>62.39</c:v>
                </c:pt>
                <c:pt idx="2301">
                  <c:v>62.4</c:v>
                </c:pt>
                <c:pt idx="2302">
                  <c:v>62.2</c:v>
                </c:pt>
                <c:pt idx="2303">
                  <c:v>62.54</c:v>
                </c:pt>
                <c:pt idx="2304">
                  <c:v>62.06</c:v>
                </c:pt>
                <c:pt idx="2305">
                  <c:v>61.26</c:v>
                </c:pt>
                <c:pt idx="2306">
                  <c:v>61.06</c:v>
                </c:pt>
                <c:pt idx="2307">
                  <c:v>61.34</c:v>
                </c:pt>
                <c:pt idx="2308">
                  <c:v>62.48</c:v>
                </c:pt>
                <c:pt idx="2309">
                  <c:v>63.4</c:v>
                </c:pt>
                <c:pt idx="2310">
                  <c:v>62.19</c:v>
                </c:pt>
                <c:pt idx="2311">
                  <c:v>62.87</c:v>
                </c:pt>
                <c:pt idx="2312">
                  <c:v>63.08</c:v>
                </c:pt>
                <c:pt idx="2313">
                  <c:v>62.05</c:v>
                </c:pt>
                <c:pt idx="2314">
                  <c:v>61.81</c:v>
                </c:pt>
                <c:pt idx="2315">
                  <c:v>61.07</c:v>
                </c:pt>
                <c:pt idx="2316">
                  <c:v>60.31</c:v>
                </c:pt>
                <c:pt idx="2317">
                  <c:v>60.39</c:v>
                </c:pt>
                <c:pt idx="2318">
                  <c:v>60.85</c:v>
                </c:pt>
                <c:pt idx="2319">
                  <c:v>60.77</c:v>
                </c:pt>
                <c:pt idx="2320">
                  <c:v>58.31</c:v>
                </c:pt>
                <c:pt idx="2321">
                  <c:v>55.65</c:v>
                </c:pt>
                <c:pt idx="2322">
                  <c:v>56.29</c:v>
                </c:pt>
                <c:pt idx="2323">
                  <c:v>56.08</c:v>
                </c:pt>
                <c:pt idx="2324">
                  <c:v>55.65</c:v>
                </c:pt>
                <c:pt idx="2325">
                  <c:v>53.95</c:v>
                </c:pt>
                <c:pt idx="2326">
                  <c:v>51.91</c:v>
                </c:pt>
                <c:pt idx="2327">
                  <c:v>52.96</c:v>
                </c:pt>
                <c:pt idx="2328">
                  <c:v>51.23</c:v>
                </c:pt>
                <c:pt idx="2329">
                  <c:v>52.3</c:v>
                </c:pt>
                <c:pt idx="2330">
                  <c:v>50.51</c:v>
                </c:pt>
                <c:pt idx="2331">
                  <c:v>51.98</c:v>
                </c:pt>
                <c:pt idx="2332">
                  <c:v>51.11</c:v>
                </c:pt>
                <c:pt idx="2333">
                  <c:v>53.61</c:v>
                </c:pt>
                <c:pt idx="2334">
                  <c:v>54.24</c:v>
                </c:pt>
                <c:pt idx="2335">
                  <c:v>53.49</c:v>
                </c:pt>
                <c:pt idx="2336">
                  <c:v>55.38</c:v>
                </c:pt>
                <c:pt idx="2337">
                  <c:v>54.01</c:v>
                </c:pt>
                <c:pt idx="2338">
                  <c:v>57.03</c:v>
                </c:pt>
                <c:pt idx="2339">
                  <c:v>58.17</c:v>
                </c:pt>
                <c:pt idx="2340">
                  <c:v>57.35</c:v>
                </c:pt>
                <c:pt idx="2341">
                  <c:v>59.01</c:v>
                </c:pt>
                <c:pt idx="2342">
                  <c:v>58.69</c:v>
                </c:pt>
                <c:pt idx="2343">
                  <c:v>58.91</c:v>
                </c:pt>
                <c:pt idx="2344">
                  <c:v>57.75</c:v>
                </c:pt>
                <c:pt idx="2345">
                  <c:v>59.76</c:v>
                </c:pt>
                <c:pt idx="2346">
                  <c:v>59.86</c:v>
                </c:pt>
                <c:pt idx="2347">
                  <c:v>57.76</c:v>
                </c:pt>
                <c:pt idx="2348">
                  <c:v>58.98</c:v>
                </c:pt>
                <c:pt idx="2349">
                  <c:v>58</c:v>
                </c:pt>
                <c:pt idx="2350">
                  <c:v>57.92</c:v>
                </c:pt>
                <c:pt idx="2351">
                  <c:v>59.38</c:v>
                </c:pt>
                <c:pt idx="2352">
                  <c:v>58.32</c:v>
                </c:pt>
                <c:pt idx="2353">
                  <c:v>59.4</c:v>
                </c:pt>
                <c:pt idx="2354">
                  <c:v>60.28</c:v>
                </c:pt>
                <c:pt idx="2355">
                  <c:v>60.28</c:v>
                </c:pt>
                <c:pt idx="2356">
                  <c:v>61.41</c:v>
                </c:pt>
                <c:pt idx="2357">
                  <c:v>61.46</c:v>
                </c:pt>
                <c:pt idx="2358">
                  <c:v>61.78</c:v>
                </c:pt>
                <c:pt idx="2359">
                  <c:v>61.97</c:v>
                </c:pt>
                <c:pt idx="2360">
                  <c:v>61.58</c:v>
                </c:pt>
                <c:pt idx="2361">
                  <c:v>60.05</c:v>
                </c:pt>
                <c:pt idx="2362">
                  <c:v>60.66</c:v>
                </c:pt>
                <c:pt idx="2363">
                  <c:v>61.85</c:v>
                </c:pt>
                <c:pt idx="2364">
                  <c:v>61.63</c:v>
                </c:pt>
                <c:pt idx="2365">
                  <c:v>60.06</c:v>
                </c:pt>
                <c:pt idx="2366">
                  <c:v>58.94</c:v>
                </c:pt>
                <c:pt idx="2367">
                  <c:v>58.03</c:v>
                </c:pt>
                <c:pt idx="2368">
                  <c:v>58.15</c:v>
                </c:pt>
                <c:pt idx="2369">
                  <c:v>57.52</c:v>
                </c:pt>
                <c:pt idx="2370">
                  <c:v>57.06</c:v>
                </c:pt>
                <c:pt idx="2371">
                  <c:v>56.65</c:v>
                </c:pt>
                <c:pt idx="2372">
                  <c:v>56.41</c:v>
                </c:pt>
                <c:pt idx="2373">
                  <c:v>56.98</c:v>
                </c:pt>
                <c:pt idx="2374">
                  <c:v>60.21</c:v>
                </c:pt>
                <c:pt idx="2375">
                  <c:v>61.07</c:v>
                </c:pt>
                <c:pt idx="2376">
                  <c:v>61.77</c:v>
                </c:pt>
                <c:pt idx="2377">
                  <c:v>62.98</c:v>
                </c:pt>
                <c:pt idx="2378">
                  <c:v>64.11</c:v>
                </c:pt>
                <c:pt idx="2379">
                  <c:v>66.099999999999994</c:v>
                </c:pt>
                <c:pt idx="2380">
                  <c:v>65.94</c:v>
                </c:pt>
                <c:pt idx="2381">
                  <c:v>66.03</c:v>
                </c:pt>
                <c:pt idx="2382">
                  <c:v>64.59</c:v>
                </c:pt>
                <c:pt idx="2383">
                  <c:v>64.400000000000006</c:v>
                </c:pt>
                <c:pt idx="2384">
                  <c:v>64.260000000000005</c:v>
                </c:pt>
                <c:pt idx="2385">
                  <c:v>61.51</c:v>
                </c:pt>
                <c:pt idx="2386">
                  <c:v>61.92</c:v>
                </c:pt>
                <c:pt idx="2387">
                  <c:v>61.98</c:v>
                </c:pt>
                <c:pt idx="2388">
                  <c:v>63.87</c:v>
                </c:pt>
                <c:pt idx="2389">
                  <c:v>63.63</c:v>
                </c:pt>
                <c:pt idx="2390">
                  <c:v>63.63</c:v>
                </c:pt>
                <c:pt idx="2391">
                  <c:v>63.14</c:v>
                </c:pt>
                <c:pt idx="2392">
                  <c:v>63.14</c:v>
                </c:pt>
                <c:pt idx="2393">
                  <c:v>61.81</c:v>
                </c:pt>
                <c:pt idx="2394">
                  <c:v>63.56</c:v>
                </c:pt>
                <c:pt idx="2395">
                  <c:v>65.33</c:v>
                </c:pt>
                <c:pt idx="2396">
                  <c:v>64.099999999999994</c:v>
                </c:pt>
                <c:pt idx="2397">
                  <c:v>65.33</c:v>
                </c:pt>
                <c:pt idx="2398">
                  <c:v>65.08</c:v>
                </c:pt>
                <c:pt idx="2399">
                  <c:v>66.45</c:v>
                </c:pt>
                <c:pt idx="2400">
                  <c:v>65.78</c:v>
                </c:pt>
                <c:pt idx="2401">
                  <c:v>64.430000000000007</c:v>
                </c:pt>
                <c:pt idx="2402">
                  <c:v>63.78</c:v>
                </c:pt>
                <c:pt idx="2403">
                  <c:v>63.23</c:v>
                </c:pt>
                <c:pt idx="2404">
                  <c:v>61.89</c:v>
                </c:pt>
                <c:pt idx="2405">
                  <c:v>61.48</c:v>
                </c:pt>
                <c:pt idx="2406">
                  <c:v>62.26</c:v>
                </c:pt>
                <c:pt idx="2407">
                  <c:v>61.54</c:v>
                </c:pt>
                <c:pt idx="2408">
                  <c:v>61.85</c:v>
                </c:pt>
                <c:pt idx="2409">
                  <c:v>62.35</c:v>
                </c:pt>
                <c:pt idx="2410">
                  <c:v>62.55</c:v>
                </c:pt>
                <c:pt idx="2411">
                  <c:v>63.16</c:v>
                </c:pt>
                <c:pt idx="2412">
                  <c:v>62.57</c:v>
                </c:pt>
                <c:pt idx="2413">
                  <c:v>64.83</c:v>
                </c:pt>
                <c:pt idx="2414">
                  <c:v>64.930000000000007</c:v>
                </c:pt>
                <c:pt idx="2415">
                  <c:v>66.25</c:v>
                </c:pt>
                <c:pt idx="2416">
                  <c:v>64.91</c:v>
                </c:pt>
                <c:pt idx="2417">
                  <c:v>65.099999999999994</c:v>
                </c:pt>
                <c:pt idx="2418">
                  <c:v>63.62</c:v>
                </c:pt>
                <c:pt idx="2419">
                  <c:v>64.59</c:v>
                </c:pt>
                <c:pt idx="2420">
                  <c:v>63.19</c:v>
                </c:pt>
                <c:pt idx="2421">
                  <c:v>63.47</c:v>
                </c:pt>
                <c:pt idx="2422">
                  <c:v>64.02</c:v>
                </c:pt>
                <c:pt idx="2423">
                  <c:v>65.09</c:v>
                </c:pt>
                <c:pt idx="2424">
                  <c:v>66.17</c:v>
                </c:pt>
                <c:pt idx="2425">
                  <c:v>65.63</c:v>
                </c:pt>
                <c:pt idx="2426">
                  <c:v>65.97</c:v>
                </c:pt>
                <c:pt idx="2427">
                  <c:v>66.930000000000007</c:v>
                </c:pt>
                <c:pt idx="2428">
                  <c:v>64.78</c:v>
                </c:pt>
                <c:pt idx="2429">
                  <c:v>65.930000000000007</c:v>
                </c:pt>
                <c:pt idx="2430">
                  <c:v>65.36</c:v>
                </c:pt>
                <c:pt idx="2431">
                  <c:v>66.17</c:v>
                </c:pt>
                <c:pt idx="2432">
                  <c:v>67.62</c:v>
                </c:pt>
                <c:pt idx="2433">
                  <c:v>68.040000000000006</c:v>
                </c:pt>
                <c:pt idx="2434">
                  <c:v>69.06</c:v>
                </c:pt>
                <c:pt idx="2435">
                  <c:v>69.150000000000006</c:v>
                </c:pt>
                <c:pt idx="2436">
                  <c:v>68.5</c:v>
                </c:pt>
                <c:pt idx="2437">
                  <c:v>68.349999999999994</c:v>
                </c:pt>
                <c:pt idx="2438">
                  <c:v>68.849999999999994</c:v>
                </c:pt>
                <c:pt idx="2439">
                  <c:v>68.83</c:v>
                </c:pt>
                <c:pt idx="2440">
                  <c:v>67.78</c:v>
                </c:pt>
                <c:pt idx="2441">
                  <c:v>68.98</c:v>
                </c:pt>
                <c:pt idx="2442">
                  <c:v>69.61</c:v>
                </c:pt>
                <c:pt idx="2443">
                  <c:v>70.47</c:v>
                </c:pt>
                <c:pt idx="2444">
                  <c:v>71.11</c:v>
                </c:pt>
                <c:pt idx="2445">
                  <c:v>71.41</c:v>
                </c:pt>
                <c:pt idx="2446">
                  <c:v>71.81</c:v>
                </c:pt>
                <c:pt idx="2447">
                  <c:v>72.8</c:v>
                </c:pt>
                <c:pt idx="2448">
                  <c:v>72.14</c:v>
                </c:pt>
                <c:pt idx="2449">
                  <c:v>72.8</c:v>
                </c:pt>
                <c:pt idx="2450">
                  <c:v>72.58</c:v>
                </c:pt>
                <c:pt idx="2451">
                  <c:v>72.55</c:v>
                </c:pt>
                <c:pt idx="2452">
                  <c:v>73.89</c:v>
                </c:pt>
                <c:pt idx="2453">
                  <c:v>74.11</c:v>
                </c:pt>
                <c:pt idx="2454">
                  <c:v>74.03</c:v>
                </c:pt>
                <c:pt idx="2455">
                  <c:v>75.03</c:v>
                </c:pt>
                <c:pt idx="2456">
                  <c:v>75.900000000000006</c:v>
                </c:pt>
                <c:pt idx="2457">
                  <c:v>75.53</c:v>
                </c:pt>
                <c:pt idx="2458">
                  <c:v>74.650000000000006</c:v>
                </c:pt>
                <c:pt idx="2459">
                  <c:v>73.38</c:v>
                </c:pt>
                <c:pt idx="2460">
                  <c:v>75.739999999999995</c:v>
                </c:pt>
                <c:pt idx="2461">
                  <c:v>74.959999999999994</c:v>
                </c:pt>
                <c:pt idx="2462">
                  <c:v>77.03</c:v>
                </c:pt>
                <c:pt idx="2463">
                  <c:v>76.819999999999993</c:v>
                </c:pt>
                <c:pt idx="2464">
                  <c:v>78.2</c:v>
                </c:pt>
                <c:pt idx="2465">
                  <c:v>76.489999999999995</c:v>
                </c:pt>
                <c:pt idx="2466">
                  <c:v>76.84</c:v>
                </c:pt>
                <c:pt idx="2467">
                  <c:v>75.41</c:v>
                </c:pt>
                <c:pt idx="2468">
                  <c:v>72.03</c:v>
                </c:pt>
                <c:pt idx="2469">
                  <c:v>72.25</c:v>
                </c:pt>
                <c:pt idx="2470">
                  <c:v>72.23</c:v>
                </c:pt>
                <c:pt idx="2471">
                  <c:v>71.62</c:v>
                </c:pt>
                <c:pt idx="2472">
                  <c:v>71.489999999999995</c:v>
                </c:pt>
                <c:pt idx="2473">
                  <c:v>71.599999999999994</c:v>
                </c:pt>
                <c:pt idx="2474">
                  <c:v>72.400000000000006</c:v>
                </c:pt>
                <c:pt idx="2475">
                  <c:v>73.36</c:v>
                </c:pt>
                <c:pt idx="2476">
                  <c:v>70.989999999999995</c:v>
                </c:pt>
                <c:pt idx="2477">
                  <c:v>71.900000000000006</c:v>
                </c:pt>
                <c:pt idx="2478">
                  <c:v>71.12</c:v>
                </c:pt>
                <c:pt idx="2479">
                  <c:v>69.489999999999995</c:v>
                </c:pt>
                <c:pt idx="2480">
                  <c:v>69.3</c:v>
                </c:pt>
                <c:pt idx="2481">
                  <c:v>69.86</c:v>
                </c:pt>
                <c:pt idx="2482">
                  <c:v>71.17</c:v>
                </c:pt>
                <c:pt idx="2483">
                  <c:v>71.98</c:v>
                </c:pt>
                <c:pt idx="2484">
                  <c:v>71.790000000000006</c:v>
                </c:pt>
                <c:pt idx="2485">
                  <c:v>73.52</c:v>
                </c:pt>
                <c:pt idx="2486">
                  <c:v>73.37</c:v>
                </c:pt>
                <c:pt idx="2487">
                  <c:v>73.98</c:v>
                </c:pt>
                <c:pt idx="2488">
                  <c:v>75.069999999999993</c:v>
                </c:pt>
                <c:pt idx="2489">
                  <c:v>75.739999999999995</c:v>
                </c:pt>
                <c:pt idx="2490">
                  <c:v>76.34</c:v>
                </c:pt>
                <c:pt idx="2491">
                  <c:v>76.7</c:v>
                </c:pt>
                <c:pt idx="2492">
                  <c:v>77.53</c:v>
                </c:pt>
                <c:pt idx="2493">
                  <c:v>78.16</c:v>
                </c:pt>
                <c:pt idx="2494">
                  <c:v>79.849999999999994</c:v>
                </c:pt>
                <c:pt idx="2495">
                  <c:v>80.05</c:v>
                </c:pt>
                <c:pt idx="2496">
                  <c:v>79.14</c:v>
                </c:pt>
                <c:pt idx="2497">
                  <c:v>80.55</c:v>
                </c:pt>
                <c:pt idx="2498">
                  <c:v>81.510000000000005</c:v>
                </c:pt>
                <c:pt idx="2499">
                  <c:v>81.99</c:v>
                </c:pt>
                <c:pt idx="2500">
                  <c:v>83.85</c:v>
                </c:pt>
                <c:pt idx="2501">
                  <c:v>83.38</c:v>
                </c:pt>
                <c:pt idx="2502">
                  <c:v>82.51</c:v>
                </c:pt>
                <c:pt idx="2503">
                  <c:v>81.2</c:v>
                </c:pt>
                <c:pt idx="2504">
                  <c:v>80.31</c:v>
                </c:pt>
                <c:pt idx="2505">
                  <c:v>82.86</c:v>
                </c:pt>
                <c:pt idx="2506">
                  <c:v>81.64</c:v>
                </c:pt>
                <c:pt idx="2507">
                  <c:v>80.31</c:v>
                </c:pt>
                <c:pt idx="2508">
                  <c:v>80</c:v>
                </c:pt>
                <c:pt idx="2509">
                  <c:v>79.97</c:v>
                </c:pt>
                <c:pt idx="2510">
                  <c:v>81.48</c:v>
                </c:pt>
                <c:pt idx="2511">
                  <c:v>81.2</c:v>
                </c:pt>
                <c:pt idx="2512">
                  <c:v>78.97</c:v>
                </c:pt>
                <c:pt idx="2513">
                  <c:v>80.23</c:v>
                </c:pt>
                <c:pt idx="2514">
                  <c:v>81.3</c:v>
                </c:pt>
                <c:pt idx="2515">
                  <c:v>83.05</c:v>
                </c:pt>
                <c:pt idx="2516">
                  <c:v>83.73</c:v>
                </c:pt>
                <c:pt idx="2517">
                  <c:v>86.19</c:v>
                </c:pt>
                <c:pt idx="2518">
                  <c:v>87.58</c:v>
                </c:pt>
                <c:pt idx="2519">
                  <c:v>87.19</c:v>
                </c:pt>
                <c:pt idx="2520">
                  <c:v>89.48</c:v>
                </c:pt>
                <c:pt idx="2521">
                  <c:v>88.58</c:v>
                </c:pt>
                <c:pt idx="2522">
                  <c:v>87.6</c:v>
                </c:pt>
                <c:pt idx="2523">
                  <c:v>86.45</c:v>
                </c:pt>
                <c:pt idx="2524">
                  <c:v>88.3</c:v>
                </c:pt>
                <c:pt idx="2525">
                  <c:v>92.09</c:v>
                </c:pt>
                <c:pt idx="2526">
                  <c:v>91.73</c:v>
                </c:pt>
                <c:pt idx="2527">
                  <c:v>93.45</c:v>
                </c:pt>
                <c:pt idx="2528">
                  <c:v>90.33</c:v>
                </c:pt>
                <c:pt idx="2529">
                  <c:v>94.16</c:v>
                </c:pt>
                <c:pt idx="2530">
                  <c:v>93.53</c:v>
                </c:pt>
                <c:pt idx="2531">
                  <c:v>95.81</c:v>
                </c:pt>
                <c:pt idx="2532">
                  <c:v>94.06</c:v>
                </c:pt>
                <c:pt idx="2533">
                  <c:v>96.65</c:v>
                </c:pt>
                <c:pt idx="2534">
                  <c:v>96.46</c:v>
                </c:pt>
                <c:pt idx="2535">
                  <c:v>95.51</c:v>
                </c:pt>
                <c:pt idx="2536">
                  <c:v>96.36</c:v>
                </c:pt>
                <c:pt idx="2537">
                  <c:v>94.4</c:v>
                </c:pt>
                <c:pt idx="2538">
                  <c:v>91.18</c:v>
                </c:pt>
                <c:pt idx="2539">
                  <c:v>94.02</c:v>
                </c:pt>
                <c:pt idx="2540">
                  <c:v>93.37</c:v>
                </c:pt>
                <c:pt idx="2541">
                  <c:v>94.81</c:v>
                </c:pt>
                <c:pt idx="2542">
                  <c:v>95.75</c:v>
                </c:pt>
                <c:pt idx="2543">
                  <c:v>99.16</c:v>
                </c:pt>
                <c:pt idx="2544">
                  <c:v>98.57</c:v>
                </c:pt>
                <c:pt idx="2545">
                  <c:v>98.24</c:v>
                </c:pt>
                <c:pt idx="2546">
                  <c:v>97.66</c:v>
                </c:pt>
                <c:pt idx="2547">
                  <c:v>94.39</c:v>
                </c:pt>
                <c:pt idx="2548">
                  <c:v>90.71</c:v>
                </c:pt>
                <c:pt idx="2549">
                  <c:v>90.98</c:v>
                </c:pt>
                <c:pt idx="2550">
                  <c:v>88.6</c:v>
                </c:pt>
                <c:pt idx="2551">
                  <c:v>89.29</c:v>
                </c:pt>
                <c:pt idx="2552">
                  <c:v>88.31</c:v>
                </c:pt>
                <c:pt idx="2553">
                  <c:v>87.45</c:v>
                </c:pt>
                <c:pt idx="2554">
                  <c:v>90.25</c:v>
                </c:pt>
                <c:pt idx="2555">
                  <c:v>88.23</c:v>
                </c:pt>
                <c:pt idx="2556">
                  <c:v>87.72</c:v>
                </c:pt>
                <c:pt idx="2557">
                  <c:v>90.12</c:v>
                </c:pt>
                <c:pt idx="2558">
                  <c:v>94.41</c:v>
                </c:pt>
                <c:pt idx="2559">
                  <c:v>92.35</c:v>
                </c:pt>
                <c:pt idx="2560">
                  <c:v>91.31</c:v>
                </c:pt>
                <c:pt idx="2561">
                  <c:v>90.69</c:v>
                </c:pt>
                <c:pt idx="2562">
                  <c:v>89.93</c:v>
                </c:pt>
                <c:pt idx="2563">
                  <c:v>91.11</c:v>
                </c:pt>
                <c:pt idx="2564">
                  <c:v>90.88</c:v>
                </c:pt>
                <c:pt idx="2565">
                  <c:v>93.19</c:v>
                </c:pt>
                <c:pt idx="2566">
                  <c:v>94</c:v>
                </c:pt>
                <c:pt idx="2567">
                  <c:v>95.89</c:v>
                </c:pt>
                <c:pt idx="2568">
                  <c:v>96.63</c:v>
                </c:pt>
                <c:pt idx="2569">
                  <c:v>96.03</c:v>
                </c:pt>
                <c:pt idx="2570">
                  <c:v>95.95</c:v>
                </c:pt>
                <c:pt idx="2571">
                  <c:v>99.64</c:v>
                </c:pt>
                <c:pt idx="2572">
                  <c:v>99.17</c:v>
                </c:pt>
                <c:pt idx="2573">
                  <c:v>97.9</c:v>
                </c:pt>
                <c:pt idx="2574">
                  <c:v>95.08</c:v>
                </c:pt>
                <c:pt idx="2575">
                  <c:v>96.43</c:v>
                </c:pt>
                <c:pt idx="2576">
                  <c:v>95.64</c:v>
                </c:pt>
                <c:pt idx="2577">
                  <c:v>93.92</c:v>
                </c:pt>
                <c:pt idx="2578">
                  <c:v>92.74</c:v>
                </c:pt>
                <c:pt idx="2579">
                  <c:v>94.23</c:v>
                </c:pt>
                <c:pt idx="2580">
                  <c:v>91.87</c:v>
                </c:pt>
                <c:pt idx="2581">
                  <c:v>90.8</c:v>
                </c:pt>
                <c:pt idx="2582">
                  <c:v>90.11</c:v>
                </c:pt>
                <c:pt idx="2583">
                  <c:v>90.55</c:v>
                </c:pt>
                <c:pt idx="2584">
                  <c:v>89.64</c:v>
                </c:pt>
                <c:pt idx="2585">
                  <c:v>87.65</c:v>
                </c:pt>
                <c:pt idx="2586">
                  <c:v>89.98</c:v>
                </c:pt>
                <c:pt idx="2587">
                  <c:v>90.37</c:v>
                </c:pt>
                <c:pt idx="2588">
                  <c:v>90.99</c:v>
                </c:pt>
                <c:pt idx="2589">
                  <c:v>91.66</c:v>
                </c:pt>
                <c:pt idx="2590">
                  <c:v>92.34</c:v>
                </c:pt>
                <c:pt idx="2591">
                  <c:v>91.67</c:v>
                </c:pt>
                <c:pt idx="2592">
                  <c:v>89.03</c:v>
                </c:pt>
                <c:pt idx="2593">
                  <c:v>90.07</c:v>
                </c:pt>
                <c:pt idx="2594">
                  <c:v>88.32</c:v>
                </c:pt>
                <c:pt idx="2595">
                  <c:v>87.16</c:v>
                </c:pt>
                <c:pt idx="2596">
                  <c:v>88.07</c:v>
                </c:pt>
                <c:pt idx="2597">
                  <c:v>91.77</c:v>
                </c:pt>
                <c:pt idx="2598">
                  <c:v>93.56</c:v>
                </c:pt>
                <c:pt idx="2599">
                  <c:v>92.82</c:v>
                </c:pt>
                <c:pt idx="2600">
                  <c:v>93.28</c:v>
                </c:pt>
                <c:pt idx="2601">
                  <c:v>95.42</c:v>
                </c:pt>
                <c:pt idx="2602">
                  <c:v>95.57</c:v>
                </c:pt>
                <c:pt idx="2603">
                  <c:v>99.99</c:v>
                </c:pt>
                <c:pt idx="2604">
                  <c:v>100.86</c:v>
                </c:pt>
                <c:pt idx="2605">
                  <c:v>98.57</c:v>
                </c:pt>
                <c:pt idx="2606">
                  <c:v>99.03</c:v>
                </c:pt>
                <c:pt idx="2607">
                  <c:v>99.4</c:v>
                </c:pt>
                <c:pt idx="2608">
                  <c:v>100.83</c:v>
                </c:pt>
                <c:pt idx="2609">
                  <c:v>99.59</c:v>
                </c:pt>
                <c:pt idx="2610">
                  <c:v>102.6</c:v>
                </c:pt>
                <c:pt idx="2611">
                  <c:v>101.78</c:v>
                </c:pt>
                <c:pt idx="2612">
                  <c:v>102.42</c:v>
                </c:pt>
                <c:pt idx="2613">
                  <c:v>99.72</c:v>
                </c:pt>
                <c:pt idx="2614">
                  <c:v>104.45</c:v>
                </c:pt>
                <c:pt idx="2615">
                  <c:v>105.51</c:v>
                </c:pt>
                <c:pt idx="2616">
                  <c:v>105.12</c:v>
                </c:pt>
                <c:pt idx="2617">
                  <c:v>107.9</c:v>
                </c:pt>
                <c:pt idx="2618">
                  <c:v>108.73</c:v>
                </c:pt>
                <c:pt idx="2619">
                  <c:v>109.86</c:v>
                </c:pt>
                <c:pt idx="2620">
                  <c:v>110.21</c:v>
                </c:pt>
                <c:pt idx="2621">
                  <c:v>110.03</c:v>
                </c:pt>
                <c:pt idx="2622">
                  <c:v>105.74</c:v>
                </c:pt>
                <c:pt idx="2623">
                  <c:v>109.57</c:v>
                </c:pt>
                <c:pt idx="2624">
                  <c:v>103.25</c:v>
                </c:pt>
                <c:pt idx="2625">
                  <c:v>102.57</c:v>
                </c:pt>
                <c:pt idx="2626">
                  <c:v>101.7</c:v>
                </c:pt>
                <c:pt idx="2627">
                  <c:v>101.78</c:v>
                </c:pt>
                <c:pt idx="2628">
                  <c:v>105.83</c:v>
                </c:pt>
                <c:pt idx="2629">
                  <c:v>107.56</c:v>
                </c:pt>
                <c:pt idx="2630">
                  <c:v>105.59</c:v>
                </c:pt>
                <c:pt idx="2631">
                  <c:v>101.54</c:v>
                </c:pt>
                <c:pt idx="2632">
                  <c:v>100.92</c:v>
                </c:pt>
                <c:pt idx="2633">
                  <c:v>104.83</c:v>
                </c:pt>
                <c:pt idx="2634">
                  <c:v>103.92</c:v>
                </c:pt>
                <c:pt idx="2635">
                  <c:v>106.09</c:v>
                </c:pt>
                <c:pt idx="2636">
                  <c:v>108.91</c:v>
                </c:pt>
                <c:pt idx="2637">
                  <c:v>108.54</c:v>
                </c:pt>
                <c:pt idx="2638">
                  <c:v>110.89</c:v>
                </c:pt>
                <c:pt idx="2639">
                  <c:v>110.07</c:v>
                </c:pt>
                <c:pt idx="2640">
                  <c:v>110.14</c:v>
                </c:pt>
                <c:pt idx="2641">
                  <c:v>111.71</c:v>
                </c:pt>
                <c:pt idx="2642">
                  <c:v>113.77</c:v>
                </c:pt>
                <c:pt idx="2643">
                  <c:v>114.8</c:v>
                </c:pt>
                <c:pt idx="2644">
                  <c:v>114.8</c:v>
                </c:pt>
                <c:pt idx="2645">
                  <c:v>116.56</c:v>
                </c:pt>
                <c:pt idx="2646">
                  <c:v>117.48</c:v>
                </c:pt>
                <c:pt idx="2647">
                  <c:v>119.17</c:v>
                </c:pt>
                <c:pt idx="2648">
                  <c:v>119.28</c:v>
                </c:pt>
                <c:pt idx="2649">
                  <c:v>117.1</c:v>
                </c:pt>
                <c:pt idx="2650">
                  <c:v>119.64</c:v>
                </c:pt>
                <c:pt idx="2651">
                  <c:v>118.78</c:v>
                </c:pt>
                <c:pt idx="2652">
                  <c:v>115.67</c:v>
                </c:pt>
                <c:pt idx="2653">
                  <c:v>113.7</c:v>
                </c:pt>
                <c:pt idx="2654">
                  <c:v>112.6</c:v>
                </c:pt>
                <c:pt idx="2655">
                  <c:v>116.36</c:v>
                </c:pt>
                <c:pt idx="2656">
                  <c:v>119.94</c:v>
                </c:pt>
                <c:pt idx="2657">
                  <c:v>121.82</c:v>
                </c:pt>
                <c:pt idx="2658">
                  <c:v>123.56</c:v>
                </c:pt>
                <c:pt idx="2659">
                  <c:v>123.77</c:v>
                </c:pt>
                <c:pt idx="2660">
                  <c:v>125.94</c:v>
                </c:pt>
                <c:pt idx="2661">
                  <c:v>124.02</c:v>
                </c:pt>
                <c:pt idx="2662">
                  <c:v>125.83</c:v>
                </c:pt>
                <c:pt idx="2663">
                  <c:v>124.21</c:v>
                </c:pt>
                <c:pt idx="2664">
                  <c:v>124.25</c:v>
                </c:pt>
                <c:pt idx="2665">
                  <c:v>126.5</c:v>
                </c:pt>
                <c:pt idx="2666">
                  <c:v>127.15</c:v>
                </c:pt>
                <c:pt idx="2667">
                  <c:v>128.93</c:v>
                </c:pt>
                <c:pt idx="2668">
                  <c:v>132.99</c:v>
                </c:pt>
                <c:pt idx="2669">
                  <c:v>130.04</c:v>
                </c:pt>
                <c:pt idx="2670">
                  <c:v>131.58000000000001</c:v>
                </c:pt>
                <c:pt idx="2671">
                  <c:v>128.81</c:v>
                </c:pt>
                <c:pt idx="2672">
                  <c:v>131</c:v>
                </c:pt>
                <c:pt idx="2673">
                  <c:v>126.7</c:v>
                </c:pt>
                <c:pt idx="2674">
                  <c:v>127.35</c:v>
                </c:pt>
                <c:pt idx="2675">
                  <c:v>127.75</c:v>
                </c:pt>
                <c:pt idx="2676">
                  <c:v>124.33</c:v>
                </c:pt>
                <c:pt idx="2677">
                  <c:v>122.3</c:v>
                </c:pt>
                <c:pt idx="2678">
                  <c:v>127.93</c:v>
                </c:pt>
                <c:pt idx="2679">
                  <c:v>138.51</c:v>
                </c:pt>
                <c:pt idx="2680">
                  <c:v>134.44</c:v>
                </c:pt>
                <c:pt idx="2681">
                  <c:v>131.38</c:v>
                </c:pt>
                <c:pt idx="2682">
                  <c:v>136.43</c:v>
                </c:pt>
                <c:pt idx="2683">
                  <c:v>136.91</c:v>
                </c:pt>
                <c:pt idx="2684">
                  <c:v>134.84</c:v>
                </c:pt>
                <c:pt idx="2685">
                  <c:v>134.52000000000001</c:v>
                </c:pt>
                <c:pt idx="2686">
                  <c:v>133.99</c:v>
                </c:pt>
                <c:pt idx="2687">
                  <c:v>136.54</c:v>
                </c:pt>
                <c:pt idx="2688">
                  <c:v>131.88</c:v>
                </c:pt>
                <c:pt idx="2689">
                  <c:v>134.78</c:v>
                </c:pt>
                <c:pt idx="2690">
                  <c:v>135.97999999999999</c:v>
                </c:pt>
                <c:pt idx="2691">
                  <c:v>136.49</c:v>
                </c:pt>
                <c:pt idx="2692">
                  <c:v>133.91999999999999</c:v>
                </c:pt>
                <c:pt idx="2693">
                  <c:v>138.91</c:v>
                </c:pt>
                <c:pt idx="2694">
                  <c:v>139.69</c:v>
                </c:pt>
                <c:pt idx="2695">
                  <c:v>139.96</c:v>
                </c:pt>
                <c:pt idx="2696">
                  <c:v>141.06</c:v>
                </c:pt>
                <c:pt idx="2697">
                  <c:v>143.74</c:v>
                </c:pt>
                <c:pt idx="2698">
                  <c:v>145.31</c:v>
                </c:pt>
                <c:pt idx="2699">
                  <c:v>141.38</c:v>
                </c:pt>
                <c:pt idx="2700">
                  <c:v>136.06</c:v>
                </c:pt>
                <c:pt idx="2701">
                  <c:v>135.88</c:v>
                </c:pt>
                <c:pt idx="2702">
                  <c:v>141.47</c:v>
                </c:pt>
                <c:pt idx="2703">
                  <c:v>144.96</c:v>
                </c:pt>
                <c:pt idx="2704">
                  <c:v>145.16</c:v>
                </c:pt>
                <c:pt idx="2705">
                  <c:v>138.68</c:v>
                </c:pt>
                <c:pt idx="2706">
                  <c:v>134.63</c:v>
                </c:pt>
                <c:pt idx="2707">
                  <c:v>129.43</c:v>
                </c:pt>
                <c:pt idx="2708">
                  <c:v>128.94</c:v>
                </c:pt>
                <c:pt idx="2709">
                  <c:v>131.43</c:v>
                </c:pt>
                <c:pt idx="2710">
                  <c:v>127.25</c:v>
                </c:pt>
                <c:pt idx="2711">
                  <c:v>123.73</c:v>
                </c:pt>
                <c:pt idx="2712">
                  <c:v>124.62</c:v>
                </c:pt>
                <c:pt idx="2713">
                  <c:v>122.59</c:v>
                </c:pt>
                <c:pt idx="2714">
                  <c:v>124.72</c:v>
                </c:pt>
                <c:pt idx="2715">
                  <c:v>122.21</c:v>
                </c:pt>
                <c:pt idx="2716">
                  <c:v>126.74</c:v>
                </c:pt>
                <c:pt idx="2717">
                  <c:v>124.17</c:v>
                </c:pt>
                <c:pt idx="2718">
                  <c:v>125.03</c:v>
                </c:pt>
                <c:pt idx="2719">
                  <c:v>121.45</c:v>
                </c:pt>
                <c:pt idx="2720">
                  <c:v>118.71</c:v>
                </c:pt>
                <c:pt idx="2721">
                  <c:v>118.57</c:v>
                </c:pt>
                <c:pt idx="2722">
                  <c:v>119.84</c:v>
                </c:pt>
                <c:pt idx="2723">
                  <c:v>115.42</c:v>
                </c:pt>
                <c:pt idx="2724">
                  <c:v>114.44</c:v>
                </c:pt>
                <c:pt idx="2725">
                  <c:v>113.1</c:v>
                </c:pt>
                <c:pt idx="2726">
                  <c:v>115.96</c:v>
                </c:pt>
                <c:pt idx="2727">
                  <c:v>115.05</c:v>
                </c:pt>
                <c:pt idx="2728">
                  <c:v>113.46</c:v>
                </c:pt>
                <c:pt idx="2729">
                  <c:v>112.92</c:v>
                </c:pt>
                <c:pt idx="2730">
                  <c:v>114.39</c:v>
                </c:pt>
                <c:pt idx="2731">
                  <c:v>115.48</c:v>
                </c:pt>
                <c:pt idx="2732">
                  <c:v>121.23</c:v>
                </c:pt>
                <c:pt idx="2733">
                  <c:v>114.48</c:v>
                </c:pt>
                <c:pt idx="2734">
                  <c:v>114.85</c:v>
                </c:pt>
                <c:pt idx="2735">
                  <c:v>116.31</c:v>
                </c:pt>
                <c:pt idx="2736">
                  <c:v>118.17</c:v>
                </c:pt>
                <c:pt idx="2737">
                  <c:v>115.58</c:v>
                </c:pt>
                <c:pt idx="2738">
                  <c:v>115.55</c:v>
                </c:pt>
                <c:pt idx="2739">
                  <c:v>109.63</c:v>
                </c:pt>
                <c:pt idx="2740">
                  <c:v>109.38</c:v>
                </c:pt>
                <c:pt idx="2741">
                  <c:v>107.99</c:v>
                </c:pt>
                <c:pt idx="2742">
                  <c:v>106.47</c:v>
                </c:pt>
                <c:pt idx="2743">
                  <c:v>106.35</c:v>
                </c:pt>
                <c:pt idx="2744">
                  <c:v>103.23</c:v>
                </c:pt>
                <c:pt idx="2745">
                  <c:v>102.66</c:v>
                </c:pt>
                <c:pt idx="2746">
                  <c:v>100.95</c:v>
                </c:pt>
                <c:pt idx="2747">
                  <c:v>101.19</c:v>
                </c:pt>
                <c:pt idx="2748">
                  <c:v>95.52</c:v>
                </c:pt>
                <c:pt idx="2749">
                  <c:v>91.49</c:v>
                </c:pt>
                <c:pt idx="2750">
                  <c:v>97.39</c:v>
                </c:pt>
                <c:pt idx="2751">
                  <c:v>97.5</c:v>
                </c:pt>
                <c:pt idx="2752">
                  <c:v>104.05</c:v>
                </c:pt>
                <c:pt idx="2753">
                  <c:v>122.61</c:v>
                </c:pt>
                <c:pt idx="2754">
                  <c:v>107.85</c:v>
                </c:pt>
                <c:pt idx="2755">
                  <c:v>106.84</c:v>
                </c:pt>
                <c:pt idx="2756">
                  <c:v>111.54</c:v>
                </c:pt>
                <c:pt idx="2757">
                  <c:v>106.77</c:v>
                </c:pt>
                <c:pt idx="2758">
                  <c:v>96.29</c:v>
                </c:pt>
                <c:pt idx="2759">
                  <c:v>100.7</c:v>
                </c:pt>
                <c:pt idx="2760">
                  <c:v>98.23</c:v>
                </c:pt>
                <c:pt idx="2761">
                  <c:v>93.84</c:v>
                </c:pt>
                <c:pt idx="2762">
                  <c:v>93.91</c:v>
                </c:pt>
                <c:pt idx="2763">
                  <c:v>88.15</c:v>
                </c:pt>
                <c:pt idx="2764">
                  <c:v>90.18</c:v>
                </c:pt>
                <c:pt idx="2765">
                  <c:v>88.94</c:v>
                </c:pt>
                <c:pt idx="2766">
                  <c:v>86.5</c:v>
                </c:pt>
                <c:pt idx="2767">
                  <c:v>77.44</c:v>
                </c:pt>
                <c:pt idx="2768">
                  <c:v>81.17</c:v>
                </c:pt>
                <c:pt idx="2769">
                  <c:v>78.69</c:v>
                </c:pt>
                <c:pt idx="2770">
                  <c:v>74.38</c:v>
                </c:pt>
                <c:pt idx="2771">
                  <c:v>69.81</c:v>
                </c:pt>
                <c:pt idx="2772">
                  <c:v>71.900000000000006</c:v>
                </c:pt>
                <c:pt idx="2773">
                  <c:v>74.08</c:v>
                </c:pt>
                <c:pt idx="2774">
                  <c:v>71.290000000000006</c:v>
                </c:pt>
                <c:pt idx="2775">
                  <c:v>66.92</c:v>
                </c:pt>
                <c:pt idx="2776">
                  <c:v>67.17</c:v>
                </c:pt>
                <c:pt idx="2777">
                  <c:v>63.34</c:v>
                </c:pt>
                <c:pt idx="2778">
                  <c:v>61.92</c:v>
                </c:pt>
                <c:pt idx="2779">
                  <c:v>62.8</c:v>
                </c:pt>
                <c:pt idx="2780">
                  <c:v>67.45</c:v>
                </c:pt>
                <c:pt idx="2781">
                  <c:v>65.790000000000006</c:v>
                </c:pt>
                <c:pt idx="2782">
                  <c:v>68.099999999999994</c:v>
                </c:pt>
                <c:pt idx="2783">
                  <c:v>63.93</c:v>
                </c:pt>
                <c:pt idx="2784">
                  <c:v>70.41</c:v>
                </c:pt>
                <c:pt idx="2785">
                  <c:v>65.41</c:v>
                </c:pt>
                <c:pt idx="2786">
                  <c:v>60.72</c:v>
                </c:pt>
                <c:pt idx="2787">
                  <c:v>61.06</c:v>
                </c:pt>
                <c:pt idx="2788">
                  <c:v>62.19</c:v>
                </c:pt>
                <c:pt idx="2789">
                  <c:v>59.38</c:v>
                </c:pt>
                <c:pt idx="2790">
                  <c:v>55.95</c:v>
                </c:pt>
                <c:pt idx="2791">
                  <c:v>58.31</c:v>
                </c:pt>
                <c:pt idx="2792">
                  <c:v>57.18</c:v>
                </c:pt>
                <c:pt idx="2793">
                  <c:v>55.14</c:v>
                </c:pt>
                <c:pt idx="2794">
                  <c:v>54.42</c:v>
                </c:pt>
                <c:pt idx="2795">
                  <c:v>53.64</c:v>
                </c:pt>
                <c:pt idx="2796">
                  <c:v>48.86</c:v>
                </c:pt>
                <c:pt idx="2797">
                  <c:v>49.22</c:v>
                </c:pt>
                <c:pt idx="2798">
                  <c:v>53.63</c:v>
                </c:pt>
                <c:pt idx="2799">
                  <c:v>50.02</c:v>
                </c:pt>
                <c:pt idx="2800">
                  <c:v>54.2</c:v>
                </c:pt>
                <c:pt idx="2801">
                  <c:v>55.21</c:v>
                </c:pt>
                <c:pt idx="2802">
                  <c:v>49.34</c:v>
                </c:pt>
                <c:pt idx="2803">
                  <c:v>47.05</c:v>
                </c:pt>
                <c:pt idx="2804">
                  <c:v>46.79</c:v>
                </c:pt>
                <c:pt idx="2805">
                  <c:v>43.8</c:v>
                </c:pt>
                <c:pt idx="2806">
                  <c:v>41.01</c:v>
                </c:pt>
                <c:pt idx="2807">
                  <c:v>43.69</c:v>
                </c:pt>
                <c:pt idx="2808">
                  <c:v>42</c:v>
                </c:pt>
                <c:pt idx="2809">
                  <c:v>43.1</c:v>
                </c:pt>
                <c:pt idx="2810">
                  <c:v>47.77</c:v>
                </c:pt>
                <c:pt idx="2811">
                  <c:v>46.27</c:v>
                </c:pt>
                <c:pt idx="2812">
                  <c:v>44.61</c:v>
                </c:pt>
                <c:pt idx="2813">
                  <c:v>43.84</c:v>
                </c:pt>
                <c:pt idx="2814">
                  <c:v>40.17</c:v>
                </c:pt>
                <c:pt idx="2815">
                  <c:v>36.729999999999997</c:v>
                </c:pt>
                <c:pt idx="2816">
                  <c:v>33.17</c:v>
                </c:pt>
                <c:pt idx="2817">
                  <c:v>31.1</c:v>
                </c:pt>
                <c:pt idx="2818">
                  <c:v>30.28</c:v>
                </c:pt>
                <c:pt idx="2819">
                  <c:v>32.94</c:v>
                </c:pt>
                <c:pt idx="2820">
                  <c:v>37.58</c:v>
                </c:pt>
                <c:pt idx="2821">
                  <c:v>39.89</c:v>
                </c:pt>
                <c:pt idx="2822">
                  <c:v>38.950000000000003</c:v>
                </c:pt>
                <c:pt idx="2823">
                  <c:v>44.6</c:v>
                </c:pt>
                <c:pt idx="2824">
                  <c:v>46.17</c:v>
                </c:pt>
                <c:pt idx="2825">
                  <c:v>48.61</c:v>
                </c:pt>
                <c:pt idx="2826">
                  <c:v>48.56</c:v>
                </c:pt>
                <c:pt idx="2827">
                  <c:v>42.75</c:v>
                </c:pt>
                <c:pt idx="2828">
                  <c:v>41.68</c:v>
                </c:pt>
                <c:pt idx="2829">
                  <c:v>40.69</c:v>
                </c:pt>
                <c:pt idx="2830">
                  <c:v>37.65</c:v>
                </c:pt>
                <c:pt idx="2831">
                  <c:v>37.770000000000003</c:v>
                </c:pt>
                <c:pt idx="2832">
                  <c:v>37.43</c:v>
                </c:pt>
                <c:pt idx="2833">
                  <c:v>35.409999999999997</c:v>
                </c:pt>
                <c:pt idx="2834">
                  <c:v>35.380000000000003</c:v>
                </c:pt>
                <c:pt idx="2835">
                  <c:v>38.57</c:v>
                </c:pt>
                <c:pt idx="2836">
                  <c:v>42.56</c:v>
                </c:pt>
                <c:pt idx="2837">
                  <c:v>42.33</c:v>
                </c:pt>
                <c:pt idx="2838">
                  <c:v>45.12</c:v>
                </c:pt>
                <c:pt idx="2839">
                  <c:v>46.5</c:v>
                </c:pt>
                <c:pt idx="2840">
                  <c:v>41.67</c:v>
                </c:pt>
                <c:pt idx="2841">
                  <c:v>42.04</c:v>
                </c:pt>
                <c:pt idx="2842">
                  <c:v>41.58</c:v>
                </c:pt>
                <c:pt idx="2843">
                  <c:v>41.73</c:v>
                </c:pt>
                <c:pt idx="2844">
                  <c:v>41.35</c:v>
                </c:pt>
                <c:pt idx="2845">
                  <c:v>40.869999999999997</c:v>
                </c:pt>
                <c:pt idx="2846">
                  <c:v>40.270000000000003</c:v>
                </c:pt>
                <c:pt idx="2847">
                  <c:v>41.15</c:v>
                </c:pt>
                <c:pt idx="2848">
                  <c:v>40.24</c:v>
                </c:pt>
                <c:pt idx="2849">
                  <c:v>39.58</c:v>
                </c:pt>
                <c:pt idx="2850">
                  <c:v>37.54</c:v>
                </c:pt>
                <c:pt idx="2851">
                  <c:v>35.93</c:v>
                </c:pt>
                <c:pt idx="2852">
                  <c:v>34.03</c:v>
                </c:pt>
                <c:pt idx="2853">
                  <c:v>37.630000000000003</c:v>
                </c:pt>
                <c:pt idx="2854">
                  <c:v>34.96</c:v>
                </c:pt>
                <c:pt idx="2855">
                  <c:v>34.67</c:v>
                </c:pt>
                <c:pt idx="2856">
                  <c:v>39.6</c:v>
                </c:pt>
                <c:pt idx="2857">
                  <c:v>39.35</c:v>
                </c:pt>
                <c:pt idx="2858">
                  <c:v>37.659999999999997</c:v>
                </c:pt>
                <c:pt idx="2859">
                  <c:v>38.86</c:v>
                </c:pt>
                <c:pt idx="2860">
                  <c:v>41.64</c:v>
                </c:pt>
                <c:pt idx="2861">
                  <c:v>43.18</c:v>
                </c:pt>
                <c:pt idx="2862">
                  <c:v>44.15</c:v>
                </c:pt>
                <c:pt idx="2863">
                  <c:v>40.07</c:v>
                </c:pt>
                <c:pt idx="2864">
                  <c:v>41.57</c:v>
                </c:pt>
                <c:pt idx="2865">
                  <c:v>45.28</c:v>
                </c:pt>
                <c:pt idx="2866">
                  <c:v>43.54</c:v>
                </c:pt>
                <c:pt idx="2867">
                  <c:v>45.43</c:v>
                </c:pt>
                <c:pt idx="2868">
                  <c:v>47.01</c:v>
                </c:pt>
                <c:pt idx="2869">
                  <c:v>45.68</c:v>
                </c:pt>
                <c:pt idx="2870">
                  <c:v>42.46</c:v>
                </c:pt>
                <c:pt idx="2871">
                  <c:v>46.91</c:v>
                </c:pt>
                <c:pt idx="2872">
                  <c:v>46.22</c:v>
                </c:pt>
                <c:pt idx="2873">
                  <c:v>47.33</c:v>
                </c:pt>
                <c:pt idx="2874">
                  <c:v>48.97</c:v>
                </c:pt>
                <c:pt idx="2875">
                  <c:v>48.12</c:v>
                </c:pt>
                <c:pt idx="2876">
                  <c:v>51.46</c:v>
                </c:pt>
                <c:pt idx="2877">
                  <c:v>51.55</c:v>
                </c:pt>
                <c:pt idx="2878">
                  <c:v>53.05</c:v>
                </c:pt>
                <c:pt idx="2879">
                  <c:v>53.36</c:v>
                </c:pt>
                <c:pt idx="2880">
                  <c:v>52.24</c:v>
                </c:pt>
                <c:pt idx="2881">
                  <c:v>53.87</c:v>
                </c:pt>
                <c:pt idx="2882">
                  <c:v>52.41</c:v>
                </c:pt>
                <c:pt idx="2883">
                  <c:v>48.49</c:v>
                </c:pt>
                <c:pt idx="2884">
                  <c:v>49.64</c:v>
                </c:pt>
                <c:pt idx="2885">
                  <c:v>48.46</c:v>
                </c:pt>
                <c:pt idx="2886">
                  <c:v>52.61</c:v>
                </c:pt>
                <c:pt idx="2887">
                  <c:v>52.52</c:v>
                </c:pt>
                <c:pt idx="2888">
                  <c:v>51.1</c:v>
                </c:pt>
                <c:pt idx="2889">
                  <c:v>49.13</c:v>
                </c:pt>
                <c:pt idx="2890">
                  <c:v>49.37</c:v>
                </c:pt>
                <c:pt idx="2891">
                  <c:v>52.24</c:v>
                </c:pt>
                <c:pt idx="2892">
                  <c:v>50.22</c:v>
                </c:pt>
                <c:pt idx="2893">
                  <c:v>49.51</c:v>
                </c:pt>
                <c:pt idx="2894">
                  <c:v>49.26</c:v>
                </c:pt>
                <c:pt idx="2895">
                  <c:v>49.97</c:v>
                </c:pt>
                <c:pt idx="2896">
                  <c:v>50.36</c:v>
                </c:pt>
                <c:pt idx="2897">
                  <c:v>45.82</c:v>
                </c:pt>
                <c:pt idx="2898">
                  <c:v>46.65</c:v>
                </c:pt>
                <c:pt idx="2899">
                  <c:v>47.41</c:v>
                </c:pt>
                <c:pt idx="2900">
                  <c:v>48.46</c:v>
                </c:pt>
                <c:pt idx="2901">
                  <c:v>50.65</c:v>
                </c:pt>
                <c:pt idx="2902">
                  <c:v>49.29</c:v>
                </c:pt>
                <c:pt idx="2903">
                  <c:v>49.01</c:v>
                </c:pt>
                <c:pt idx="2904">
                  <c:v>50.19</c:v>
                </c:pt>
                <c:pt idx="2905">
                  <c:v>50.35</c:v>
                </c:pt>
                <c:pt idx="2906">
                  <c:v>52.18</c:v>
                </c:pt>
                <c:pt idx="2907">
                  <c:v>54.45</c:v>
                </c:pt>
                <c:pt idx="2908">
                  <c:v>53.81</c:v>
                </c:pt>
                <c:pt idx="2909">
                  <c:v>56.29</c:v>
                </c:pt>
                <c:pt idx="2910">
                  <c:v>56.67</c:v>
                </c:pt>
                <c:pt idx="2911">
                  <c:v>58.58</c:v>
                </c:pt>
                <c:pt idx="2912">
                  <c:v>57.79</c:v>
                </c:pt>
                <c:pt idx="2913">
                  <c:v>58.81</c:v>
                </c:pt>
                <c:pt idx="2914">
                  <c:v>58</c:v>
                </c:pt>
                <c:pt idx="2915">
                  <c:v>58.58</c:v>
                </c:pt>
                <c:pt idx="2916">
                  <c:v>56.52</c:v>
                </c:pt>
                <c:pt idx="2917">
                  <c:v>58.99</c:v>
                </c:pt>
                <c:pt idx="2918">
                  <c:v>59.52</c:v>
                </c:pt>
                <c:pt idx="2919">
                  <c:v>61.45</c:v>
                </c:pt>
                <c:pt idx="2920">
                  <c:v>60.49</c:v>
                </c:pt>
                <c:pt idx="2921">
                  <c:v>61.15</c:v>
                </c:pt>
                <c:pt idx="2922">
                  <c:v>62.48</c:v>
                </c:pt>
                <c:pt idx="2923">
                  <c:v>63.41</c:v>
                </c:pt>
                <c:pt idx="2924">
                  <c:v>65.09</c:v>
                </c:pt>
                <c:pt idx="2925">
                  <c:v>66.31</c:v>
                </c:pt>
                <c:pt idx="2926">
                  <c:v>68.59</c:v>
                </c:pt>
                <c:pt idx="2927">
                  <c:v>68.58</c:v>
                </c:pt>
                <c:pt idx="2928">
                  <c:v>66.14</c:v>
                </c:pt>
                <c:pt idx="2929">
                  <c:v>68.8</c:v>
                </c:pt>
                <c:pt idx="2930">
                  <c:v>68.430000000000007</c:v>
                </c:pt>
                <c:pt idx="2931">
                  <c:v>68.05</c:v>
                </c:pt>
                <c:pt idx="2932">
                  <c:v>70.02</c:v>
                </c:pt>
                <c:pt idx="2933">
                  <c:v>71.38</c:v>
                </c:pt>
                <c:pt idx="2934">
                  <c:v>72.69</c:v>
                </c:pt>
                <c:pt idx="2935">
                  <c:v>72.13</c:v>
                </c:pt>
                <c:pt idx="2936">
                  <c:v>70.540000000000006</c:v>
                </c:pt>
                <c:pt idx="2937">
                  <c:v>70.47</c:v>
                </c:pt>
                <c:pt idx="2938">
                  <c:v>71.069999999999993</c:v>
                </c:pt>
                <c:pt idx="2939">
                  <c:v>71.42</c:v>
                </c:pt>
                <c:pt idx="2940">
                  <c:v>69.599999999999994</c:v>
                </c:pt>
                <c:pt idx="2941">
                  <c:v>67.09</c:v>
                </c:pt>
                <c:pt idx="2942">
                  <c:v>68.81</c:v>
                </c:pt>
                <c:pt idx="2943">
                  <c:v>68.14</c:v>
                </c:pt>
                <c:pt idx="2944">
                  <c:v>69.7</c:v>
                </c:pt>
                <c:pt idx="2945">
                  <c:v>69.16</c:v>
                </c:pt>
                <c:pt idx="2946">
                  <c:v>71.47</c:v>
                </c:pt>
                <c:pt idx="2947">
                  <c:v>69.819999999999993</c:v>
                </c:pt>
                <c:pt idx="2948">
                  <c:v>69.319999999999993</c:v>
                </c:pt>
                <c:pt idx="2949">
                  <c:v>66.680000000000007</c:v>
                </c:pt>
                <c:pt idx="2950">
                  <c:v>64.06</c:v>
                </c:pt>
                <c:pt idx="2951">
                  <c:v>62.88</c:v>
                </c:pt>
                <c:pt idx="2952">
                  <c:v>60.15</c:v>
                </c:pt>
                <c:pt idx="2953">
                  <c:v>60.36</c:v>
                </c:pt>
                <c:pt idx="2954">
                  <c:v>59.93</c:v>
                </c:pt>
                <c:pt idx="2955">
                  <c:v>59.69</c:v>
                </c:pt>
                <c:pt idx="2956">
                  <c:v>59.62</c:v>
                </c:pt>
                <c:pt idx="2957">
                  <c:v>61.49</c:v>
                </c:pt>
                <c:pt idx="2958">
                  <c:v>62.07</c:v>
                </c:pt>
                <c:pt idx="2959">
                  <c:v>63.56</c:v>
                </c:pt>
                <c:pt idx="2960">
                  <c:v>63.93</c:v>
                </c:pt>
                <c:pt idx="2961">
                  <c:v>64.81</c:v>
                </c:pt>
                <c:pt idx="2962">
                  <c:v>64.58</c:v>
                </c:pt>
                <c:pt idx="2963">
                  <c:v>66.099999999999994</c:v>
                </c:pt>
                <c:pt idx="2964">
                  <c:v>66.959999999999994</c:v>
                </c:pt>
                <c:pt idx="2965">
                  <c:v>68.34</c:v>
                </c:pt>
                <c:pt idx="2966">
                  <c:v>67.239999999999995</c:v>
                </c:pt>
                <c:pt idx="2967">
                  <c:v>63.42</c:v>
                </c:pt>
                <c:pt idx="2968">
                  <c:v>66.900000000000006</c:v>
                </c:pt>
                <c:pt idx="2969">
                  <c:v>69.260000000000005</c:v>
                </c:pt>
                <c:pt idx="2970">
                  <c:v>71.59</c:v>
                </c:pt>
                <c:pt idx="2971">
                  <c:v>71.400000000000006</c:v>
                </c:pt>
                <c:pt idx="2972">
                  <c:v>71.97</c:v>
                </c:pt>
                <c:pt idx="2973">
                  <c:v>71.959999999999994</c:v>
                </c:pt>
                <c:pt idx="2974">
                  <c:v>70.97</c:v>
                </c:pt>
                <c:pt idx="2975">
                  <c:v>70.59</c:v>
                </c:pt>
                <c:pt idx="2976">
                  <c:v>69.459999999999994</c:v>
                </c:pt>
                <c:pt idx="2977">
                  <c:v>70.08</c:v>
                </c:pt>
                <c:pt idx="2978">
                  <c:v>70.569999999999993</c:v>
                </c:pt>
                <c:pt idx="2979">
                  <c:v>67.510000000000005</c:v>
                </c:pt>
                <c:pt idx="2980">
                  <c:v>66.72</c:v>
                </c:pt>
                <c:pt idx="2981">
                  <c:v>69.22</c:v>
                </c:pt>
                <c:pt idx="2982">
                  <c:v>72.540000000000006</c:v>
                </c:pt>
                <c:pt idx="2983">
                  <c:v>72.400000000000006</c:v>
                </c:pt>
                <c:pt idx="2984">
                  <c:v>73.12</c:v>
                </c:pt>
                <c:pt idx="2985">
                  <c:v>73.680000000000007</c:v>
                </c:pt>
                <c:pt idx="2986">
                  <c:v>71.599999999999994</c:v>
                </c:pt>
                <c:pt idx="2987">
                  <c:v>71.38</c:v>
                </c:pt>
                <c:pt idx="2988">
                  <c:v>72.489999999999995</c:v>
                </c:pt>
                <c:pt idx="2989">
                  <c:v>72.72</c:v>
                </c:pt>
                <c:pt idx="2990">
                  <c:v>69.97</c:v>
                </c:pt>
                <c:pt idx="2991">
                  <c:v>68.11</c:v>
                </c:pt>
                <c:pt idx="2992">
                  <c:v>68.03</c:v>
                </c:pt>
                <c:pt idx="2993">
                  <c:v>67.900000000000006</c:v>
                </c:pt>
                <c:pt idx="2994">
                  <c:v>67.95</c:v>
                </c:pt>
                <c:pt idx="2995">
                  <c:v>71.08</c:v>
                </c:pt>
                <c:pt idx="2996">
                  <c:v>71.27</c:v>
                </c:pt>
                <c:pt idx="2997">
                  <c:v>71.95</c:v>
                </c:pt>
                <c:pt idx="2998">
                  <c:v>69.34</c:v>
                </c:pt>
                <c:pt idx="2999">
                  <c:v>68.86</c:v>
                </c:pt>
                <c:pt idx="3000">
                  <c:v>70.81</c:v>
                </c:pt>
                <c:pt idx="3001">
                  <c:v>72.5</c:v>
                </c:pt>
                <c:pt idx="3002">
                  <c:v>72.48</c:v>
                </c:pt>
                <c:pt idx="3003">
                  <c:v>71.95</c:v>
                </c:pt>
                <c:pt idx="3004">
                  <c:v>69.739999999999995</c:v>
                </c:pt>
                <c:pt idx="3005">
                  <c:v>71.5</c:v>
                </c:pt>
                <c:pt idx="3006">
                  <c:v>68.739999999999995</c:v>
                </c:pt>
                <c:pt idx="3007">
                  <c:v>65.739999999999995</c:v>
                </c:pt>
                <c:pt idx="3008">
                  <c:v>65.91</c:v>
                </c:pt>
                <c:pt idx="3009">
                  <c:v>66.69</c:v>
                </c:pt>
                <c:pt idx="3010">
                  <c:v>66.56</c:v>
                </c:pt>
                <c:pt idx="3011">
                  <c:v>70.459999999999994</c:v>
                </c:pt>
                <c:pt idx="3012">
                  <c:v>70.67</c:v>
                </c:pt>
                <c:pt idx="3013">
                  <c:v>69.8</c:v>
                </c:pt>
                <c:pt idx="3014">
                  <c:v>70.260000000000005</c:v>
                </c:pt>
                <c:pt idx="3015">
                  <c:v>70.709999999999994</c:v>
                </c:pt>
                <c:pt idx="3016">
                  <c:v>69.599999999999994</c:v>
                </c:pt>
                <c:pt idx="3017">
                  <c:v>71.69</c:v>
                </c:pt>
                <c:pt idx="3018">
                  <c:v>71.75</c:v>
                </c:pt>
                <c:pt idx="3019">
                  <c:v>73.239999999999995</c:v>
                </c:pt>
                <c:pt idx="3020">
                  <c:v>74.099999999999994</c:v>
                </c:pt>
                <c:pt idx="3021">
                  <c:v>75.2</c:v>
                </c:pt>
                <c:pt idx="3022">
                  <c:v>77.55</c:v>
                </c:pt>
                <c:pt idx="3023">
                  <c:v>78.540000000000006</c:v>
                </c:pt>
                <c:pt idx="3024">
                  <c:v>79.47</c:v>
                </c:pt>
                <c:pt idx="3025">
                  <c:v>78.87</c:v>
                </c:pt>
                <c:pt idx="3026">
                  <c:v>81.03</c:v>
                </c:pt>
                <c:pt idx="3027">
                  <c:v>80.819999999999993</c:v>
                </c:pt>
                <c:pt idx="3028">
                  <c:v>80.11</c:v>
                </c:pt>
                <c:pt idx="3029">
                  <c:v>78.61</c:v>
                </c:pt>
                <c:pt idx="3030">
                  <c:v>79.45</c:v>
                </c:pt>
                <c:pt idx="3031">
                  <c:v>77.39</c:v>
                </c:pt>
                <c:pt idx="3032">
                  <c:v>79.84</c:v>
                </c:pt>
                <c:pt idx="3033">
                  <c:v>77.040000000000006</c:v>
                </c:pt>
                <c:pt idx="3034">
                  <c:v>78.08</c:v>
                </c:pt>
                <c:pt idx="3035">
                  <c:v>79.58</c:v>
                </c:pt>
                <c:pt idx="3036">
                  <c:v>80.3</c:v>
                </c:pt>
                <c:pt idx="3037">
                  <c:v>79.64</c:v>
                </c:pt>
                <c:pt idx="3038">
                  <c:v>77.400000000000006</c:v>
                </c:pt>
                <c:pt idx="3039">
                  <c:v>79.44</c:v>
                </c:pt>
                <c:pt idx="3040">
                  <c:v>79.010000000000005</c:v>
                </c:pt>
                <c:pt idx="3041">
                  <c:v>79.16</c:v>
                </c:pt>
                <c:pt idx="3042">
                  <c:v>77.25</c:v>
                </c:pt>
                <c:pt idx="3043">
                  <c:v>76.34</c:v>
                </c:pt>
                <c:pt idx="3044">
                  <c:v>78.91</c:v>
                </c:pt>
                <c:pt idx="3045">
                  <c:v>79.08</c:v>
                </c:pt>
                <c:pt idx="3046">
                  <c:v>79.55</c:v>
                </c:pt>
                <c:pt idx="3047">
                  <c:v>77.47</c:v>
                </c:pt>
                <c:pt idx="3048">
                  <c:v>76.83</c:v>
                </c:pt>
                <c:pt idx="3049">
                  <c:v>76.489999999999995</c:v>
                </c:pt>
                <c:pt idx="3050">
                  <c:v>74.88</c:v>
                </c:pt>
                <c:pt idx="3051">
                  <c:v>77.25</c:v>
                </c:pt>
                <c:pt idx="3052">
                  <c:v>75.95</c:v>
                </c:pt>
                <c:pt idx="3053">
                  <c:v>77.19</c:v>
                </c:pt>
                <c:pt idx="3054">
                  <c:v>78.39</c:v>
                </c:pt>
                <c:pt idx="3055">
                  <c:v>76.62</c:v>
                </c:pt>
                <c:pt idx="3056">
                  <c:v>76.42</c:v>
                </c:pt>
                <c:pt idx="3057">
                  <c:v>75.41</c:v>
                </c:pt>
                <c:pt idx="3058">
                  <c:v>73.89</c:v>
                </c:pt>
                <c:pt idx="3059">
                  <c:v>72.59</c:v>
                </c:pt>
                <c:pt idx="3060">
                  <c:v>70.67</c:v>
                </c:pt>
                <c:pt idx="3061">
                  <c:v>70.540000000000006</c:v>
                </c:pt>
                <c:pt idx="3062">
                  <c:v>69.86</c:v>
                </c:pt>
                <c:pt idx="3063">
                  <c:v>69.48</c:v>
                </c:pt>
                <c:pt idx="3064">
                  <c:v>70.62</c:v>
                </c:pt>
                <c:pt idx="3065">
                  <c:v>72.64</c:v>
                </c:pt>
                <c:pt idx="3066">
                  <c:v>72.58</c:v>
                </c:pt>
                <c:pt idx="3067">
                  <c:v>73.3</c:v>
                </c:pt>
                <c:pt idx="3068">
                  <c:v>72.709999999999994</c:v>
                </c:pt>
                <c:pt idx="3069">
                  <c:v>73.48</c:v>
                </c:pt>
                <c:pt idx="3070">
                  <c:v>76.03</c:v>
                </c:pt>
                <c:pt idx="3071">
                  <c:v>76.83</c:v>
                </c:pt>
                <c:pt idx="3072">
                  <c:v>78.67</c:v>
                </c:pt>
                <c:pt idx="3073">
                  <c:v>78.87</c:v>
                </c:pt>
                <c:pt idx="3074">
                  <c:v>79.349999999999994</c:v>
                </c:pt>
                <c:pt idx="3075">
                  <c:v>79.39</c:v>
                </c:pt>
                <c:pt idx="3076">
                  <c:v>81.52</c:v>
                </c:pt>
                <c:pt idx="3077">
                  <c:v>81.739999999999995</c:v>
                </c:pt>
                <c:pt idx="3078">
                  <c:v>83.12</c:v>
                </c:pt>
                <c:pt idx="3079">
                  <c:v>82.6</c:v>
                </c:pt>
                <c:pt idx="3080">
                  <c:v>82.74</c:v>
                </c:pt>
                <c:pt idx="3081">
                  <c:v>82.54</c:v>
                </c:pt>
                <c:pt idx="3082">
                  <c:v>80.790000000000006</c:v>
                </c:pt>
                <c:pt idx="3083">
                  <c:v>79.66</c:v>
                </c:pt>
                <c:pt idx="3084">
                  <c:v>79.349999999999994</c:v>
                </c:pt>
                <c:pt idx="3085">
                  <c:v>77.959999999999994</c:v>
                </c:pt>
                <c:pt idx="3086">
                  <c:v>78.98</c:v>
                </c:pt>
                <c:pt idx="3087">
                  <c:v>77.42</c:v>
                </c:pt>
                <c:pt idx="3088">
                  <c:v>75.84</c:v>
                </c:pt>
                <c:pt idx="3089">
                  <c:v>74.25</c:v>
                </c:pt>
                <c:pt idx="3090">
                  <c:v>74.900000000000006</c:v>
                </c:pt>
                <c:pt idx="3091">
                  <c:v>74.67</c:v>
                </c:pt>
                <c:pt idx="3092">
                  <c:v>73.64</c:v>
                </c:pt>
                <c:pt idx="3093">
                  <c:v>73.62</c:v>
                </c:pt>
                <c:pt idx="3094">
                  <c:v>72.849999999999994</c:v>
                </c:pt>
                <c:pt idx="3095">
                  <c:v>74.41</c:v>
                </c:pt>
                <c:pt idx="3096">
                  <c:v>77.209999999999994</c:v>
                </c:pt>
                <c:pt idx="3097">
                  <c:v>76.959999999999994</c:v>
                </c:pt>
                <c:pt idx="3098">
                  <c:v>73.13</c:v>
                </c:pt>
                <c:pt idx="3099">
                  <c:v>71.150000000000006</c:v>
                </c:pt>
                <c:pt idx="3100">
                  <c:v>71.87</c:v>
                </c:pt>
                <c:pt idx="3101">
                  <c:v>73.709999999999994</c:v>
                </c:pt>
                <c:pt idx="3102">
                  <c:v>74.48</c:v>
                </c:pt>
                <c:pt idx="3103">
                  <c:v>75.23</c:v>
                </c:pt>
                <c:pt idx="3104">
                  <c:v>74.11</c:v>
                </c:pt>
                <c:pt idx="3105">
                  <c:v>76.98</c:v>
                </c:pt>
                <c:pt idx="3106">
                  <c:v>77.27</c:v>
                </c:pt>
                <c:pt idx="3107">
                  <c:v>78.97</c:v>
                </c:pt>
                <c:pt idx="3108">
                  <c:v>79.77</c:v>
                </c:pt>
                <c:pt idx="3109">
                  <c:v>80.040000000000006</c:v>
                </c:pt>
                <c:pt idx="3110">
                  <c:v>78.61</c:v>
                </c:pt>
                <c:pt idx="3111">
                  <c:v>79.75</c:v>
                </c:pt>
                <c:pt idx="3112">
                  <c:v>77.989999999999995</c:v>
                </c:pt>
                <c:pt idx="3113">
                  <c:v>79.72</c:v>
                </c:pt>
                <c:pt idx="3114">
                  <c:v>78.709999999999994</c:v>
                </c:pt>
                <c:pt idx="3115">
                  <c:v>79.62</c:v>
                </c:pt>
                <c:pt idx="3116">
                  <c:v>80.91</c:v>
                </c:pt>
                <c:pt idx="3117">
                  <c:v>80.209999999999994</c:v>
                </c:pt>
                <c:pt idx="3118">
                  <c:v>81.5</c:v>
                </c:pt>
                <c:pt idx="3119">
                  <c:v>81.849999999999994</c:v>
                </c:pt>
                <c:pt idx="3120">
                  <c:v>81.5</c:v>
                </c:pt>
                <c:pt idx="3121">
                  <c:v>82.07</c:v>
                </c:pt>
                <c:pt idx="3122">
                  <c:v>82.1</c:v>
                </c:pt>
                <c:pt idx="3123">
                  <c:v>81.260000000000005</c:v>
                </c:pt>
                <c:pt idx="3124">
                  <c:v>79.790000000000006</c:v>
                </c:pt>
                <c:pt idx="3125">
                  <c:v>81.75</c:v>
                </c:pt>
                <c:pt idx="3126">
                  <c:v>82.93</c:v>
                </c:pt>
                <c:pt idx="3127">
                  <c:v>82.16</c:v>
                </c:pt>
                <c:pt idx="3128">
                  <c:v>80.58</c:v>
                </c:pt>
                <c:pt idx="3129">
                  <c:v>81.260000000000005</c:v>
                </c:pt>
                <c:pt idx="3130">
                  <c:v>81.680000000000007</c:v>
                </c:pt>
                <c:pt idx="3131">
                  <c:v>80.290000000000006</c:v>
                </c:pt>
                <c:pt idx="3132">
                  <c:v>80.25</c:v>
                </c:pt>
                <c:pt idx="3133">
                  <c:v>79.75</c:v>
                </c:pt>
                <c:pt idx="3134">
                  <c:v>81.92</c:v>
                </c:pt>
                <c:pt idx="3135">
                  <c:v>82.14</c:v>
                </c:pt>
                <c:pt idx="3136">
                  <c:v>83.45</c:v>
                </c:pt>
                <c:pt idx="3137">
                  <c:v>84.53</c:v>
                </c:pt>
                <c:pt idx="3138">
                  <c:v>86.36</c:v>
                </c:pt>
                <c:pt idx="3139">
                  <c:v>86.54</c:v>
                </c:pt>
                <c:pt idx="3140">
                  <c:v>85.64</c:v>
                </c:pt>
                <c:pt idx="3141">
                  <c:v>85.17</c:v>
                </c:pt>
                <c:pt idx="3142">
                  <c:v>84.6</c:v>
                </c:pt>
                <c:pt idx="3143">
                  <c:v>84.07</c:v>
                </c:pt>
                <c:pt idx="3144">
                  <c:v>83.8</c:v>
                </c:pt>
                <c:pt idx="3145">
                  <c:v>85.62</c:v>
                </c:pt>
                <c:pt idx="3146">
                  <c:v>85.25</c:v>
                </c:pt>
                <c:pt idx="3147">
                  <c:v>82.97</c:v>
                </c:pt>
                <c:pt idx="3148">
                  <c:v>81.52</c:v>
                </c:pt>
                <c:pt idx="3149">
                  <c:v>82.98</c:v>
                </c:pt>
                <c:pt idx="3150">
                  <c:v>82.78</c:v>
                </c:pt>
                <c:pt idx="3151">
                  <c:v>82.89</c:v>
                </c:pt>
                <c:pt idx="3152">
                  <c:v>84.34</c:v>
                </c:pt>
                <c:pt idx="3153">
                  <c:v>84.2</c:v>
                </c:pt>
                <c:pt idx="3154">
                  <c:v>82.43</c:v>
                </c:pt>
                <c:pt idx="3155">
                  <c:v>83.22</c:v>
                </c:pt>
                <c:pt idx="3156">
                  <c:v>85.17</c:v>
                </c:pt>
                <c:pt idx="3157">
                  <c:v>86.07</c:v>
                </c:pt>
                <c:pt idx="3158">
                  <c:v>86.19</c:v>
                </c:pt>
                <c:pt idx="3159">
                  <c:v>82.73</c:v>
                </c:pt>
                <c:pt idx="3160">
                  <c:v>80</c:v>
                </c:pt>
                <c:pt idx="3161">
                  <c:v>77.180000000000007</c:v>
                </c:pt>
                <c:pt idx="3162">
                  <c:v>75.099999999999994</c:v>
                </c:pt>
                <c:pt idx="3163">
                  <c:v>76.89</c:v>
                </c:pt>
                <c:pt idx="3164">
                  <c:v>76.37</c:v>
                </c:pt>
                <c:pt idx="3165">
                  <c:v>75.650000000000006</c:v>
                </c:pt>
                <c:pt idx="3166">
                  <c:v>74.38</c:v>
                </c:pt>
                <c:pt idx="3167">
                  <c:v>71.61</c:v>
                </c:pt>
                <c:pt idx="3168">
                  <c:v>70.08</c:v>
                </c:pt>
                <c:pt idx="3169">
                  <c:v>69.38</c:v>
                </c:pt>
                <c:pt idx="3170">
                  <c:v>69.91</c:v>
                </c:pt>
                <c:pt idx="3171">
                  <c:v>68.28</c:v>
                </c:pt>
                <c:pt idx="3172">
                  <c:v>68.03</c:v>
                </c:pt>
                <c:pt idx="3173">
                  <c:v>68.23</c:v>
                </c:pt>
                <c:pt idx="3174">
                  <c:v>64.78</c:v>
                </c:pt>
                <c:pt idx="3175">
                  <c:v>71.52</c:v>
                </c:pt>
                <c:pt idx="3176">
                  <c:v>74.56</c:v>
                </c:pt>
                <c:pt idx="3177">
                  <c:v>74</c:v>
                </c:pt>
                <c:pt idx="3178">
                  <c:v>72.7</c:v>
                </c:pt>
                <c:pt idx="3179">
                  <c:v>72.88</c:v>
                </c:pt>
                <c:pt idx="3180">
                  <c:v>74.62</c:v>
                </c:pt>
                <c:pt idx="3181">
                  <c:v>71.430000000000007</c:v>
                </c:pt>
                <c:pt idx="3182">
                  <c:v>71.55</c:v>
                </c:pt>
                <c:pt idx="3183">
                  <c:v>71.88</c:v>
                </c:pt>
                <c:pt idx="3184">
                  <c:v>74.38</c:v>
                </c:pt>
                <c:pt idx="3185">
                  <c:v>75.48</c:v>
                </c:pt>
                <c:pt idx="3186">
                  <c:v>73.89</c:v>
                </c:pt>
                <c:pt idx="3187">
                  <c:v>74.989999999999995</c:v>
                </c:pt>
                <c:pt idx="3188">
                  <c:v>76.84</c:v>
                </c:pt>
                <c:pt idx="3189">
                  <c:v>77.67</c:v>
                </c:pt>
                <c:pt idx="3190">
                  <c:v>76.819999999999993</c:v>
                </c:pt>
                <c:pt idx="3191">
                  <c:v>77.180000000000007</c:v>
                </c:pt>
                <c:pt idx="3192">
                  <c:v>77.84</c:v>
                </c:pt>
                <c:pt idx="3193">
                  <c:v>77.150000000000006</c:v>
                </c:pt>
                <c:pt idx="3194">
                  <c:v>75.900000000000006</c:v>
                </c:pt>
                <c:pt idx="3195">
                  <c:v>75.959999999999994</c:v>
                </c:pt>
                <c:pt idx="3196">
                  <c:v>78.45</c:v>
                </c:pt>
                <c:pt idx="3197">
                  <c:v>78.260000000000005</c:v>
                </c:pt>
                <c:pt idx="3198">
                  <c:v>75.930000000000007</c:v>
                </c:pt>
                <c:pt idx="3199">
                  <c:v>75.59</c:v>
                </c:pt>
                <c:pt idx="3200">
                  <c:v>72.95</c:v>
                </c:pt>
                <c:pt idx="3201">
                  <c:v>72.06</c:v>
                </c:pt>
                <c:pt idx="3202">
                  <c:v>71.959999999999994</c:v>
                </c:pt>
                <c:pt idx="3203">
                  <c:v>74.05</c:v>
                </c:pt>
                <c:pt idx="3204">
                  <c:v>75.459999999999994</c:v>
                </c:pt>
                <c:pt idx="3205">
                  <c:v>76.08</c:v>
                </c:pt>
                <c:pt idx="3206">
                  <c:v>74.930000000000007</c:v>
                </c:pt>
                <c:pt idx="3207">
                  <c:v>77.16</c:v>
                </c:pt>
                <c:pt idx="3208">
                  <c:v>77.02</c:v>
                </c:pt>
                <c:pt idx="3209">
                  <c:v>76.67</c:v>
                </c:pt>
                <c:pt idx="3210">
                  <c:v>75.959999999999994</c:v>
                </c:pt>
                <c:pt idx="3211">
                  <c:v>76.53</c:v>
                </c:pt>
                <c:pt idx="3212">
                  <c:v>77.319999999999993</c:v>
                </c:pt>
                <c:pt idx="3213">
                  <c:v>76.27</c:v>
                </c:pt>
                <c:pt idx="3214">
                  <c:v>79.010000000000005</c:v>
                </c:pt>
                <c:pt idx="3215">
                  <c:v>78.680000000000007</c:v>
                </c:pt>
                <c:pt idx="3216">
                  <c:v>78.930000000000007</c:v>
                </c:pt>
                <c:pt idx="3217">
                  <c:v>77.459999999999994</c:v>
                </c:pt>
                <c:pt idx="3218">
                  <c:v>77.06</c:v>
                </c:pt>
                <c:pt idx="3219">
                  <c:v>78.3</c:v>
                </c:pt>
                <c:pt idx="3220">
                  <c:v>78.849999999999994</c:v>
                </c:pt>
                <c:pt idx="3221">
                  <c:v>81.25</c:v>
                </c:pt>
                <c:pt idx="3222">
                  <c:v>82.52</c:v>
                </c:pt>
                <c:pt idx="3223">
                  <c:v>82.49</c:v>
                </c:pt>
                <c:pt idx="3224">
                  <c:v>82</c:v>
                </c:pt>
                <c:pt idx="3225">
                  <c:v>80.67</c:v>
                </c:pt>
                <c:pt idx="3226">
                  <c:v>81.459999999999994</c:v>
                </c:pt>
                <c:pt idx="3227">
                  <c:v>80.239999999999995</c:v>
                </c:pt>
                <c:pt idx="3228">
                  <c:v>78.09</c:v>
                </c:pt>
                <c:pt idx="3229">
                  <c:v>75.680000000000007</c:v>
                </c:pt>
                <c:pt idx="3230">
                  <c:v>75.39</c:v>
                </c:pt>
                <c:pt idx="3231">
                  <c:v>75.17</c:v>
                </c:pt>
                <c:pt idx="3232">
                  <c:v>75.760000000000005</c:v>
                </c:pt>
                <c:pt idx="3233">
                  <c:v>75.39</c:v>
                </c:pt>
                <c:pt idx="3234">
                  <c:v>74.45</c:v>
                </c:pt>
                <c:pt idx="3235">
                  <c:v>73.45</c:v>
                </c:pt>
                <c:pt idx="3236">
                  <c:v>72.709999999999994</c:v>
                </c:pt>
                <c:pt idx="3237">
                  <c:v>71.239999999999995</c:v>
                </c:pt>
                <c:pt idx="3238">
                  <c:v>72.069999999999993</c:v>
                </c:pt>
                <c:pt idx="3239">
                  <c:v>73.36</c:v>
                </c:pt>
                <c:pt idx="3240">
                  <c:v>75.17</c:v>
                </c:pt>
                <c:pt idx="3241">
                  <c:v>74.69</c:v>
                </c:pt>
                <c:pt idx="3242">
                  <c:v>71.930000000000007</c:v>
                </c:pt>
                <c:pt idx="3243">
                  <c:v>73.97</c:v>
                </c:pt>
                <c:pt idx="3244">
                  <c:v>74.989999999999995</c:v>
                </c:pt>
                <c:pt idx="3245">
                  <c:v>74.52</c:v>
                </c:pt>
                <c:pt idx="3246">
                  <c:v>73.98</c:v>
                </c:pt>
                <c:pt idx="3247">
                  <c:v>74.650000000000006</c:v>
                </c:pt>
                <c:pt idx="3248">
                  <c:v>74.25</c:v>
                </c:pt>
                <c:pt idx="3249">
                  <c:v>76.400000000000006</c:v>
                </c:pt>
                <c:pt idx="3250">
                  <c:v>77.17</c:v>
                </c:pt>
                <c:pt idx="3251">
                  <c:v>76.78</c:v>
                </c:pt>
                <c:pt idx="3252">
                  <c:v>75.92</c:v>
                </c:pt>
                <c:pt idx="3253">
                  <c:v>74.58</c:v>
                </c:pt>
                <c:pt idx="3254">
                  <c:v>73.63</c:v>
                </c:pt>
                <c:pt idx="3255">
                  <c:v>74.81</c:v>
                </c:pt>
                <c:pt idx="3256">
                  <c:v>72.959999999999994</c:v>
                </c:pt>
                <c:pt idx="3257">
                  <c:v>72.98</c:v>
                </c:pt>
                <c:pt idx="3258">
                  <c:v>73.400000000000006</c:v>
                </c:pt>
                <c:pt idx="3259">
                  <c:v>74.63</c:v>
                </c:pt>
                <c:pt idx="3260">
                  <c:v>76.510000000000005</c:v>
                </c:pt>
                <c:pt idx="3261">
                  <c:v>76.150000000000006</c:v>
                </c:pt>
                <c:pt idx="3262">
                  <c:v>77.849999999999994</c:v>
                </c:pt>
                <c:pt idx="3263">
                  <c:v>79.95</c:v>
                </c:pt>
                <c:pt idx="3264">
                  <c:v>81.569999999999993</c:v>
                </c:pt>
                <c:pt idx="3265">
                  <c:v>81.430000000000007</c:v>
                </c:pt>
                <c:pt idx="3266">
                  <c:v>82.83</c:v>
                </c:pt>
                <c:pt idx="3267">
                  <c:v>83.21</c:v>
                </c:pt>
                <c:pt idx="3268">
                  <c:v>81.34</c:v>
                </c:pt>
                <c:pt idx="3269">
                  <c:v>82.66</c:v>
                </c:pt>
                <c:pt idx="3270">
                  <c:v>82.18</c:v>
                </c:pt>
                <c:pt idx="3271">
                  <c:v>81.67</c:v>
                </c:pt>
                <c:pt idx="3272">
                  <c:v>83.03</c:v>
                </c:pt>
                <c:pt idx="3273">
                  <c:v>82.71</c:v>
                </c:pt>
                <c:pt idx="3274">
                  <c:v>81.23</c:v>
                </c:pt>
                <c:pt idx="3275">
                  <c:v>83.06</c:v>
                </c:pt>
                <c:pt idx="3276">
                  <c:v>79.569999999999993</c:v>
                </c:pt>
                <c:pt idx="3277">
                  <c:v>81.93</c:v>
                </c:pt>
                <c:pt idx="3278">
                  <c:v>80.03</c:v>
                </c:pt>
                <c:pt idx="3279">
                  <c:v>81.150000000000006</c:v>
                </c:pt>
                <c:pt idx="3280">
                  <c:v>82</c:v>
                </c:pt>
                <c:pt idx="3281">
                  <c:v>82.6</c:v>
                </c:pt>
                <c:pt idx="3282">
                  <c:v>81.900000000000006</c:v>
                </c:pt>
                <c:pt idx="3283">
                  <c:v>82.2</c:v>
                </c:pt>
                <c:pt idx="3284">
                  <c:v>81.45</c:v>
                </c:pt>
                <c:pt idx="3285">
                  <c:v>82.94</c:v>
                </c:pt>
                <c:pt idx="3286">
                  <c:v>83.91</c:v>
                </c:pt>
                <c:pt idx="3287">
                  <c:v>84.45</c:v>
                </c:pt>
                <c:pt idx="3288">
                  <c:v>86.49</c:v>
                </c:pt>
                <c:pt idx="3289">
                  <c:v>86.85</c:v>
                </c:pt>
                <c:pt idx="3290">
                  <c:v>87.07</c:v>
                </c:pt>
                <c:pt idx="3291">
                  <c:v>87.04</c:v>
                </c:pt>
                <c:pt idx="3292">
                  <c:v>87.77</c:v>
                </c:pt>
                <c:pt idx="3293">
                  <c:v>87.77</c:v>
                </c:pt>
                <c:pt idx="3294">
                  <c:v>84.89</c:v>
                </c:pt>
                <c:pt idx="3295">
                  <c:v>84.88</c:v>
                </c:pt>
                <c:pt idx="3296">
                  <c:v>82.33</c:v>
                </c:pt>
                <c:pt idx="3297">
                  <c:v>80.430000000000007</c:v>
                </c:pt>
                <c:pt idx="3298">
                  <c:v>81.88</c:v>
                </c:pt>
                <c:pt idx="3299">
                  <c:v>81.650000000000006</c:v>
                </c:pt>
                <c:pt idx="3300">
                  <c:v>81.239999999999995</c:v>
                </c:pt>
                <c:pt idx="3301">
                  <c:v>80.790000000000006</c:v>
                </c:pt>
                <c:pt idx="3302">
                  <c:v>83.21</c:v>
                </c:pt>
                <c:pt idx="3303">
                  <c:v>83.87</c:v>
                </c:pt>
                <c:pt idx="3304">
                  <c:v>85.73</c:v>
                </c:pt>
                <c:pt idx="3305">
                  <c:v>84.12</c:v>
                </c:pt>
                <c:pt idx="3306">
                  <c:v>86.75</c:v>
                </c:pt>
                <c:pt idx="3307">
                  <c:v>87.98</c:v>
                </c:pt>
                <c:pt idx="3308">
                  <c:v>89.18</c:v>
                </c:pt>
                <c:pt idx="3309">
                  <c:v>89.33</c:v>
                </c:pt>
                <c:pt idx="3310">
                  <c:v>88.69</c:v>
                </c:pt>
                <c:pt idx="3311">
                  <c:v>88.3</c:v>
                </c:pt>
                <c:pt idx="3312">
                  <c:v>88.35</c:v>
                </c:pt>
                <c:pt idx="3313">
                  <c:v>87.81</c:v>
                </c:pt>
                <c:pt idx="3314">
                  <c:v>88.62</c:v>
                </c:pt>
                <c:pt idx="3315">
                  <c:v>88.33</c:v>
                </c:pt>
                <c:pt idx="3316">
                  <c:v>88.66</c:v>
                </c:pt>
                <c:pt idx="3317">
                  <c:v>87.71</c:v>
                </c:pt>
                <c:pt idx="3318">
                  <c:v>88.02</c:v>
                </c:pt>
                <c:pt idx="3319">
                  <c:v>88.68</c:v>
                </c:pt>
                <c:pt idx="3320">
                  <c:v>89.3</c:v>
                </c:pt>
                <c:pt idx="3321">
                  <c:v>89.83</c:v>
                </c:pt>
                <c:pt idx="3322">
                  <c:v>90.84</c:v>
                </c:pt>
                <c:pt idx="3323">
                  <c:v>90.99</c:v>
                </c:pt>
                <c:pt idx="3324">
                  <c:v>91.48</c:v>
                </c:pt>
                <c:pt idx="3325">
                  <c:v>91.13</c:v>
                </c:pt>
                <c:pt idx="3326">
                  <c:v>89.85</c:v>
                </c:pt>
                <c:pt idx="3327">
                  <c:v>91.38</c:v>
                </c:pt>
                <c:pt idx="3328">
                  <c:v>91.59</c:v>
                </c:pt>
                <c:pt idx="3329">
                  <c:v>89.39</c:v>
                </c:pt>
                <c:pt idx="3330">
                  <c:v>90.3</c:v>
                </c:pt>
                <c:pt idx="3331">
                  <c:v>88.37</c:v>
                </c:pt>
                <c:pt idx="3332">
                  <c:v>88.07</c:v>
                </c:pt>
                <c:pt idx="3333">
                  <c:v>89.24</c:v>
                </c:pt>
                <c:pt idx="3334">
                  <c:v>91.11</c:v>
                </c:pt>
                <c:pt idx="3335">
                  <c:v>91.85</c:v>
                </c:pt>
                <c:pt idx="3336">
                  <c:v>91.39</c:v>
                </c:pt>
                <c:pt idx="3337">
                  <c:v>91.53</c:v>
                </c:pt>
                <c:pt idx="3338">
                  <c:v>91.38</c:v>
                </c:pt>
                <c:pt idx="3339">
                  <c:v>90.85</c:v>
                </c:pt>
                <c:pt idx="3340">
                  <c:v>88.56</c:v>
                </c:pt>
                <c:pt idx="3341">
                  <c:v>88.22</c:v>
                </c:pt>
                <c:pt idx="3342">
                  <c:v>86.74</c:v>
                </c:pt>
                <c:pt idx="3343">
                  <c:v>85.08</c:v>
                </c:pt>
                <c:pt idx="3344">
                  <c:v>86.15</c:v>
                </c:pt>
                <c:pt idx="3345">
                  <c:v>84.45</c:v>
                </c:pt>
                <c:pt idx="3346">
                  <c:v>88.15</c:v>
                </c:pt>
                <c:pt idx="3347">
                  <c:v>90.99</c:v>
                </c:pt>
                <c:pt idx="3348">
                  <c:v>89.54</c:v>
                </c:pt>
                <c:pt idx="3349">
                  <c:v>89.78</c:v>
                </c:pt>
                <c:pt idx="3350">
                  <c:v>89.42</c:v>
                </c:pt>
                <c:pt idx="3351">
                  <c:v>87.87</c:v>
                </c:pt>
                <c:pt idx="3352">
                  <c:v>86.3</c:v>
                </c:pt>
                <c:pt idx="3353">
                  <c:v>85.85</c:v>
                </c:pt>
                <c:pt idx="3354">
                  <c:v>85.59</c:v>
                </c:pt>
                <c:pt idx="3355">
                  <c:v>85.44</c:v>
                </c:pt>
                <c:pt idx="3356">
                  <c:v>84.39</c:v>
                </c:pt>
                <c:pt idx="3357">
                  <c:v>83.66</c:v>
                </c:pt>
                <c:pt idx="3358">
                  <c:v>83.13</c:v>
                </c:pt>
                <c:pt idx="3359">
                  <c:v>83.8</c:v>
                </c:pt>
                <c:pt idx="3360">
                  <c:v>85.05</c:v>
                </c:pt>
                <c:pt idx="3361">
                  <c:v>85.03</c:v>
                </c:pt>
                <c:pt idx="3362">
                  <c:v>92.65</c:v>
                </c:pt>
                <c:pt idx="3363">
                  <c:v>96.04</c:v>
                </c:pt>
                <c:pt idx="3364">
                  <c:v>95.83</c:v>
                </c:pt>
                <c:pt idx="3365">
                  <c:v>96.52</c:v>
                </c:pt>
                <c:pt idx="3366">
                  <c:v>97.1</c:v>
                </c:pt>
                <c:pt idx="3367">
                  <c:v>99.63</c:v>
                </c:pt>
                <c:pt idx="3368">
                  <c:v>102.27</c:v>
                </c:pt>
                <c:pt idx="3369">
                  <c:v>101.92</c:v>
                </c:pt>
                <c:pt idx="3370">
                  <c:v>104.34</c:v>
                </c:pt>
                <c:pt idx="3371">
                  <c:v>105.37</c:v>
                </c:pt>
                <c:pt idx="3372">
                  <c:v>105.06</c:v>
                </c:pt>
                <c:pt idx="3373">
                  <c:v>104.39</c:v>
                </c:pt>
                <c:pt idx="3374">
                  <c:v>102.73</c:v>
                </c:pt>
                <c:pt idx="3375">
                  <c:v>101.14</c:v>
                </c:pt>
                <c:pt idx="3376">
                  <c:v>101.2</c:v>
                </c:pt>
                <c:pt idx="3377">
                  <c:v>97.23</c:v>
                </c:pt>
                <c:pt idx="3378">
                  <c:v>97.99</c:v>
                </c:pt>
                <c:pt idx="3379">
                  <c:v>101.47</c:v>
                </c:pt>
                <c:pt idx="3380">
                  <c:v>101.06</c:v>
                </c:pt>
                <c:pt idx="3381">
                  <c:v>102.36</c:v>
                </c:pt>
                <c:pt idx="3382">
                  <c:v>104.53</c:v>
                </c:pt>
                <c:pt idx="3383">
                  <c:v>105.21</c:v>
                </c:pt>
                <c:pt idx="3384">
                  <c:v>105.04</c:v>
                </c:pt>
                <c:pt idx="3385">
                  <c:v>104.89</c:v>
                </c:pt>
                <c:pt idx="3386">
                  <c:v>103.54</c:v>
                </c:pt>
                <c:pt idx="3387">
                  <c:v>104.34</c:v>
                </c:pt>
                <c:pt idx="3388">
                  <c:v>103.8</c:v>
                </c:pt>
                <c:pt idx="3389">
                  <c:v>106.19</c:v>
                </c:pt>
                <c:pt idx="3390">
                  <c:v>107.55</c:v>
                </c:pt>
                <c:pt idx="3391">
                  <c:v>108.14</c:v>
                </c:pt>
                <c:pt idx="3392">
                  <c:v>107.82</c:v>
                </c:pt>
                <c:pt idx="3393">
                  <c:v>108.38</c:v>
                </c:pt>
                <c:pt idx="3394">
                  <c:v>109.82</c:v>
                </c:pt>
                <c:pt idx="3395">
                  <c:v>112.27</c:v>
                </c:pt>
                <c:pt idx="3396">
                  <c:v>109.5</c:v>
                </c:pt>
                <c:pt idx="3397">
                  <c:v>105.75</c:v>
                </c:pt>
                <c:pt idx="3398">
                  <c:v>106.6</c:v>
                </c:pt>
                <c:pt idx="3399">
                  <c:v>107.73</c:v>
                </c:pt>
                <c:pt idx="3400">
                  <c:v>109.17</c:v>
                </c:pt>
                <c:pt idx="3401">
                  <c:v>106.7</c:v>
                </c:pt>
                <c:pt idx="3402">
                  <c:v>107.18</c:v>
                </c:pt>
                <c:pt idx="3403">
                  <c:v>110.84</c:v>
                </c:pt>
                <c:pt idx="3404">
                  <c:v>111.72</c:v>
                </c:pt>
                <c:pt idx="3405">
                  <c:v>111.68</c:v>
                </c:pt>
                <c:pt idx="3406">
                  <c:v>111.72</c:v>
                </c:pt>
                <c:pt idx="3407">
                  <c:v>112.31</c:v>
                </c:pt>
                <c:pt idx="3408">
                  <c:v>112.38</c:v>
                </c:pt>
                <c:pt idx="3409">
                  <c:v>113.39</c:v>
                </c:pt>
                <c:pt idx="3410">
                  <c:v>113.03</c:v>
                </c:pt>
                <c:pt idx="3411">
                  <c:v>110.6</c:v>
                </c:pt>
                <c:pt idx="3412">
                  <c:v>108.79</c:v>
                </c:pt>
                <c:pt idx="3413">
                  <c:v>99.89</c:v>
                </c:pt>
                <c:pt idx="3414">
                  <c:v>96.87</c:v>
                </c:pt>
                <c:pt idx="3415">
                  <c:v>100.32</c:v>
                </c:pt>
                <c:pt idx="3416">
                  <c:v>103.39</c:v>
                </c:pt>
                <c:pt idx="3417">
                  <c:v>97.88</c:v>
                </c:pt>
                <c:pt idx="3418">
                  <c:v>98.53</c:v>
                </c:pt>
                <c:pt idx="3419">
                  <c:v>99.21</c:v>
                </c:pt>
                <c:pt idx="3420">
                  <c:v>96.91</c:v>
                </c:pt>
                <c:pt idx="3421">
                  <c:v>96.4</c:v>
                </c:pt>
                <c:pt idx="3422">
                  <c:v>99.52</c:v>
                </c:pt>
                <c:pt idx="3423">
                  <c:v>97.99</c:v>
                </c:pt>
                <c:pt idx="3424">
                  <c:v>99.15</c:v>
                </c:pt>
                <c:pt idx="3425">
                  <c:v>97.06</c:v>
                </c:pt>
                <c:pt idx="3426">
                  <c:v>99.13</c:v>
                </c:pt>
                <c:pt idx="3427">
                  <c:v>100.78</c:v>
                </c:pt>
                <c:pt idx="3428">
                  <c:v>100.18</c:v>
                </c:pt>
                <c:pt idx="3429">
                  <c:v>100.58</c:v>
                </c:pt>
                <c:pt idx="3430">
                  <c:v>102.7</c:v>
                </c:pt>
                <c:pt idx="3431">
                  <c:v>100.3</c:v>
                </c:pt>
                <c:pt idx="3432">
                  <c:v>100.41</c:v>
                </c:pt>
                <c:pt idx="3433">
                  <c:v>100.28</c:v>
                </c:pt>
                <c:pt idx="3434">
                  <c:v>99.07</c:v>
                </c:pt>
                <c:pt idx="3435">
                  <c:v>99.18</c:v>
                </c:pt>
                <c:pt idx="3436">
                  <c:v>100.77</c:v>
                </c:pt>
                <c:pt idx="3437">
                  <c:v>101.95</c:v>
                </c:pt>
                <c:pt idx="3438">
                  <c:v>99.3</c:v>
                </c:pt>
                <c:pt idx="3439">
                  <c:v>97.2</c:v>
                </c:pt>
                <c:pt idx="3440">
                  <c:v>99.37</c:v>
                </c:pt>
                <c:pt idx="3441">
                  <c:v>94.83</c:v>
                </c:pt>
                <c:pt idx="3442">
                  <c:v>94.95</c:v>
                </c:pt>
                <c:pt idx="3443">
                  <c:v>93.02</c:v>
                </c:pt>
                <c:pt idx="3444">
                  <c:v>93.23</c:v>
                </c:pt>
                <c:pt idx="3445">
                  <c:v>93.7</c:v>
                </c:pt>
                <c:pt idx="3446">
                  <c:v>94.96</c:v>
                </c:pt>
                <c:pt idx="3447">
                  <c:v>90.7</c:v>
                </c:pt>
                <c:pt idx="3448">
                  <c:v>90.89</c:v>
                </c:pt>
                <c:pt idx="3449">
                  <c:v>90.65</c:v>
                </c:pt>
                <c:pt idx="3450">
                  <c:v>92.9</c:v>
                </c:pt>
                <c:pt idx="3451">
                  <c:v>94.85</c:v>
                </c:pt>
                <c:pt idx="3452">
                  <c:v>95.3</c:v>
                </c:pt>
                <c:pt idx="3453">
                  <c:v>94.81</c:v>
                </c:pt>
                <c:pt idx="3454">
                  <c:v>96.92</c:v>
                </c:pt>
                <c:pt idx="3455">
                  <c:v>96.67</c:v>
                </c:pt>
                <c:pt idx="3456">
                  <c:v>98.7</c:v>
                </c:pt>
                <c:pt idx="3457">
                  <c:v>96.2</c:v>
                </c:pt>
                <c:pt idx="3458">
                  <c:v>95.16</c:v>
                </c:pt>
                <c:pt idx="3459">
                  <c:v>97.41</c:v>
                </c:pt>
                <c:pt idx="3460">
                  <c:v>98.04</c:v>
                </c:pt>
                <c:pt idx="3461">
                  <c:v>95.75</c:v>
                </c:pt>
                <c:pt idx="3462">
                  <c:v>97.24</c:v>
                </c:pt>
                <c:pt idx="3463">
                  <c:v>95.94</c:v>
                </c:pt>
                <c:pt idx="3464">
                  <c:v>97.49</c:v>
                </c:pt>
                <c:pt idx="3465">
                  <c:v>98.11</c:v>
                </c:pt>
                <c:pt idx="3466">
                  <c:v>98.96</c:v>
                </c:pt>
                <c:pt idx="3467">
                  <c:v>99.53</c:v>
                </c:pt>
                <c:pt idx="3468">
                  <c:v>98.97</c:v>
                </c:pt>
                <c:pt idx="3469">
                  <c:v>99.61</c:v>
                </c:pt>
                <c:pt idx="3470">
                  <c:v>97.4</c:v>
                </c:pt>
                <c:pt idx="3471">
                  <c:v>97.48</c:v>
                </c:pt>
                <c:pt idx="3472">
                  <c:v>95.68</c:v>
                </c:pt>
                <c:pt idx="3473">
                  <c:v>94.98</c:v>
                </c:pt>
                <c:pt idx="3474">
                  <c:v>93.78</c:v>
                </c:pt>
                <c:pt idx="3475">
                  <c:v>91.87</c:v>
                </c:pt>
                <c:pt idx="3476">
                  <c:v>86.75</c:v>
                </c:pt>
                <c:pt idx="3477">
                  <c:v>86.89</c:v>
                </c:pt>
                <c:pt idx="3478">
                  <c:v>81.27</c:v>
                </c:pt>
                <c:pt idx="3479">
                  <c:v>79.319999999999993</c:v>
                </c:pt>
                <c:pt idx="3480">
                  <c:v>83.05</c:v>
                </c:pt>
                <c:pt idx="3481">
                  <c:v>85.48</c:v>
                </c:pt>
                <c:pt idx="3482">
                  <c:v>85.19</c:v>
                </c:pt>
                <c:pt idx="3483">
                  <c:v>87.88</c:v>
                </c:pt>
                <c:pt idx="3484">
                  <c:v>86.65</c:v>
                </c:pt>
                <c:pt idx="3485">
                  <c:v>87.58</c:v>
                </c:pt>
                <c:pt idx="3486">
                  <c:v>82.38</c:v>
                </c:pt>
                <c:pt idx="3487">
                  <c:v>82.33</c:v>
                </c:pt>
                <c:pt idx="3488">
                  <c:v>84.42</c:v>
                </c:pt>
                <c:pt idx="3489">
                  <c:v>85.35</c:v>
                </c:pt>
                <c:pt idx="3490">
                  <c:v>84.99</c:v>
                </c:pt>
                <c:pt idx="3491">
                  <c:v>85.15</c:v>
                </c:pt>
                <c:pt idx="3492">
                  <c:v>85.37</c:v>
                </c:pt>
                <c:pt idx="3493">
                  <c:v>87.27</c:v>
                </c:pt>
                <c:pt idx="3494">
                  <c:v>88.9</c:v>
                </c:pt>
                <c:pt idx="3495">
                  <c:v>88.81</c:v>
                </c:pt>
                <c:pt idx="3496">
                  <c:v>88.93</c:v>
                </c:pt>
                <c:pt idx="3497">
                  <c:v>86.45</c:v>
                </c:pt>
                <c:pt idx="3498">
                  <c:v>85.99</c:v>
                </c:pt>
                <c:pt idx="3499">
                  <c:v>89.34</c:v>
                </c:pt>
                <c:pt idx="3500">
                  <c:v>89.05</c:v>
                </c:pt>
                <c:pt idx="3501">
                  <c:v>87.24</c:v>
                </c:pt>
                <c:pt idx="3502">
                  <c:v>88.19</c:v>
                </c:pt>
                <c:pt idx="3503">
                  <c:v>90.21</c:v>
                </c:pt>
                <c:pt idx="3504">
                  <c:v>88.91</c:v>
                </c:pt>
                <c:pt idx="3505">
                  <c:v>89.4</c:v>
                </c:pt>
                <c:pt idx="3506">
                  <c:v>87.96</c:v>
                </c:pt>
                <c:pt idx="3507">
                  <c:v>85.7</c:v>
                </c:pt>
                <c:pt idx="3508">
                  <c:v>86.92</c:v>
                </c:pt>
                <c:pt idx="3509">
                  <c:v>85.77</c:v>
                </c:pt>
                <c:pt idx="3510">
                  <c:v>80.290000000000006</c:v>
                </c:pt>
                <c:pt idx="3511">
                  <c:v>79.58</c:v>
                </c:pt>
                <c:pt idx="3512">
                  <c:v>79.97</c:v>
                </c:pt>
                <c:pt idx="3513">
                  <c:v>84.18</c:v>
                </c:pt>
                <c:pt idx="3514">
                  <c:v>80.94</c:v>
                </c:pt>
                <c:pt idx="3515">
                  <c:v>81.87</c:v>
                </c:pt>
                <c:pt idx="3516">
                  <c:v>78.930000000000007</c:v>
                </c:pt>
                <c:pt idx="3517">
                  <c:v>77.34</c:v>
                </c:pt>
                <c:pt idx="3518">
                  <c:v>75.400000000000006</c:v>
                </c:pt>
                <c:pt idx="3519">
                  <c:v>79.41</c:v>
                </c:pt>
                <c:pt idx="3520">
                  <c:v>82.32</c:v>
                </c:pt>
                <c:pt idx="3521">
                  <c:v>82.7</c:v>
                </c:pt>
                <c:pt idx="3522">
                  <c:v>85.14</c:v>
                </c:pt>
                <c:pt idx="3523">
                  <c:v>85.54</c:v>
                </c:pt>
                <c:pt idx="3524">
                  <c:v>85.3</c:v>
                </c:pt>
                <c:pt idx="3525">
                  <c:v>83.96</c:v>
                </c:pt>
                <c:pt idx="3526">
                  <c:v>86.8</c:v>
                </c:pt>
                <c:pt idx="3527">
                  <c:v>86.38</c:v>
                </c:pt>
                <c:pt idx="3528">
                  <c:v>88.34</c:v>
                </c:pt>
                <c:pt idx="3529">
                  <c:v>86.11</c:v>
                </c:pt>
                <c:pt idx="3530">
                  <c:v>86.07</c:v>
                </c:pt>
                <c:pt idx="3531">
                  <c:v>87.19</c:v>
                </c:pt>
                <c:pt idx="3532">
                  <c:v>91.12</c:v>
                </c:pt>
                <c:pt idx="3533">
                  <c:v>92.98</c:v>
                </c:pt>
                <c:pt idx="3534">
                  <c:v>90.2</c:v>
                </c:pt>
                <c:pt idx="3535">
                  <c:v>93.96</c:v>
                </c:pt>
                <c:pt idx="3536">
                  <c:v>93.32</c:v>
                </c:pt>
                <c:pt idx="3537">
                  <c:v>93.19</c:v>
                </c:pt>
                <c:pt idx="3538">
                  <c:v>92.19</c:v>
                </c:pt>
                <c:pt idx="3539">
                  <c:v>92.51</c:v>
                </c:pt>
                <c:pt idx="3540">
                  <c:v>94.07</c:v>
                </c:pt>
                <c:pt idx="3541">
                  <c:v>94.26</c:v>
                </c:pt>
                <c:pt idx="3542">
                  <c:v>95.52</c:v>
                </c:pt>
                <c:pt idx="3543">
                  <c:v>96.8</c:v>
                </c:pt>
                <c:pt idx="3544">
                  <c:v>95.74</c:v>
                </c:pt>
                <c:pt idx="3545">
                  <c:v>97.78</c:v>
                </c:pt>
                <c:pt idx="3546">
                  <c:v>98.99</c:v>
                </c:pt>
                <c:pt idx="3547">
                  <c:v>98.14</c:v>
                </c:pt>
                <c:pt idx="3548">
                  <c:v>99.37</c:v>
                </c:pt>
                <c:pt idx="3549">
                  <c:v>102.59</c:v>
                </c:pt>
                <c:pt idx="3550">
                  <c:v>98.82</c:v>
                </c:pt>
                <c:pt idx="3551">
                  <c:v>97.67</c:v>
                </c:pt>
                <c:pt idx="3552">
                  <c:v>96.73</c:v>
                </c:pt>
                <c:pt idx="3553">
                  <c:v>97.76</c:v>
                </c:pt>
                <c:pt idx="3554">
                  <c:v>96.16</c:v>
                </c:pt>
                <c:pt idx="3555">
                  <c:v>96.91</c:v>
                </c:pt>
                <c:pt idx="3556">
                  <c:v>98.21</c:v>
                </c:pt>
                <c:pt idx="3557">
                  <c:v>99.79</c:v>
                </c:pt>
                <c:pt idx="3558">
                  <c:v>100.36</c:v>
                </c:pt>
                <c:pt idx="3559">
                  <c:v>100.2</c:v>
                </c:pt>
                <c:pt idx="3560">
                  <c:v>100.97</c:v>
                </c:pt>
                <c:pt idx="3561">
                  <c:v>100.94</c:v>
                </c:pt>
                <c:pt idx="3562">
                  <c:v>101.25</c:v>
                </c:pt>
                <c:pt idx="3563">
                  <c:v>100.45</c:v>
                </c:pt>
                <c:pt idx="3564">
                  <c:v>98.35</c:v>
                </c:pt>
                <c:pt idx="3565">
                  <c:v>99.4</c:v>
                </c:pt>
                <c:pt idx="3566">
                  <c:v>97.77</c:v>
                </c:pt>
                <c:pt idx="3567">
                  <c:v>100.24</c:v>
                </c:pt>
                <c:pt idx="3568">
                  <c:v>94.92</c:v>
                </c:pt>
                <c:pt idx="3569">
                  <c:v>93.84</c:v>
                </c:pt>
                <c:pt idx="3570">
                  <c:v>93.55</c:v>
                </c:pt>
                <c:pt idx="3571">
                  <c:v>93.86</c:v>
                </c:pt>
                <c:pt idx="3572">
                  <c:v>97.16</c:v>
                </c:pt>
                <c:pt idx="3573">
                  <c:v>98.54</c:v>
                </c:pt>
                <c:pt idx="3574">
                  <c:v>99.42</c:v>
                </c:pt>
                <c:pt idx="3575">
                  <c:v>99.72</c:v>
                </c:pt>
                <c:pt idx="3576">
                  <c:v>101.29</c:v>
                </c:pt>
                <c:pt idx="3577">
                  <c:v>99.44</c:v>
                </c:pt>
                <c:pt idx="3578">
                  <c:v>99.68</c:v>
                </c:pt>
                <c:pt idx="3579">
                  <c:v>98.83</c:v>
                </c:pt>
                <c:pt idx="3580">
                  <c:v>102.96</c:v>
                </c:pt>
                <c:pt idx="3581">
                  <c:v>103.22</c:v>
                </c:pt>
                <c:pt idx="3582">
                  <c:v>101.81</c:v>
                </c:pt>
                <c:pt idx="3583">
                  <c:v>101.56</c:v>
                </c:pt>
                <c:pt idx="3584">
                  <c:v>101.31</c:v>
                </c:pt>
                <c:pt idx="3585">
                  <c:v>102.24</c:v>
                </c:pt>
                <c:pt idx="3586">
                  <c:v>100.89</c:v>
                </c:pt>
                <c:pt idx="3587">
                  <c:v>99.03</c:v>
                </c:pt>
                <c:pt idx="3588">
                  <c:v>98.69</c:v>
                </c:pt>
                <c:pt idx="3589">
                  <c:v>100.7</c:v>
                </c:pt>
                <c:pt idx="3590">
                  <c:v>100.61</c:v>
                </c:pt>
                <c:pt idx="3591">
                  <c:v>100.32</c:v>
                </c:pt>
                <c:pt idx="3592">
                  <c:v>98.15</c:v>
                </c:pt>
                <c:pt idx="3593">
                  <c:v>99.47</c:v>
                </c:pt>
                <c:pt idx="3594">
                  <c:v>98.84</c:v>
                </c:pt>
                <c:pt idx="3595">
                  <c:v>99.23</c:v>
                </c:pt>
                <c:pt idx="3596">
                  <c:v>99.76</c:v>
                </c:pt>
                <c:pt idx="3597">
                  <c:v>99.47</c:v>
                </c:pt>
                <c:pt idx="3598">
                  <c:v>98.75</c:v>
                </c:pt>
                <c:pt idx="3599">
                  <c:v>98.46</c:v>
                </c:pt>
                <c:pt idx="3600">
                  <c:v>97.63</c:v>
                </c:pt>
                <c:pt idx="3601">
                  <c:v>96.36</c:v>
                </c:pt>
                <c:pt idx="3602">
                  <c:v>97.8</c:v>
                </c:pt>
                <c:pt idx="3603">
                  <c:v>96.89</c:v>
                </c:pt>
                <c:pt idx="3604">
                  <c:v>98.55</c:v>
                </c:pt>
                <c:pt idx="3605">
                  <c:v>98.8</c:v>
                </c:pt>
                <c:pt idx="3606">
                  <c:v>99.88</c:v>
                </c:pt>
                <c:pt idx="3607">
                  <c:v>98.68</c:v>
                </c:pt>
                <c:pt idx="3608">
                  <c:v>100.39</c:v>
                </c:pt>
                <c:pt idx="3609">
                  <c:v>100.82</c:v>
                </c:pt>
                <c:pt idx="3610">
                  <c:v>101.82</c:v>
                </c:pt>
                <c:pt idx="3611">
                  <c:v>102.33</c:v>
                </c:pt>
                <c:pt idx="3612">
                  <c:v>103.27</c:v>
                </c:pt>
                <c:pt idx="3613">
                  <c:v>105.88</c:v>
                </c:pt>
                <c:pt idx="3614">
                  <c:v>105.99</c:v>
                </c:pt>
                <c:pt idx="3615">
                  <c:v>107.44</c:v>
                </c:pt>
                <c:pt idx="3616">
                  <c:v>109.39</c:v>
                </c:pt>
                <c:pt idx="3617">
                  <c:v>108.49</c:v>
                </c:pt>
                <c:pt idx="3618">
                  <c:v>106.59</c:v>
                </c:pt>
                <c:pt idx="3619">
                  <c:v>107.08</c:v>
                </c:pt>
                <c:pt idx="3620">
                  <c:v>108.76</c:v>
                </c:pt>
                <c:pt idx="3621">
                  <c:v>106.68</c:v>
                </c:pt>
                <c:pt idx="3622">
                  <c:v>106.7</c:v>
                </c:pt>
                <c:pt idx="3623">
                  <c:v>104.71</c:v>
                </c:pt>
                <c:pt idx="3624">
                  <c:v>106.16</c:v>
                </c:pt>
                <c:pt idx="3625">
                  <c:v>106.65</c:v>
                </c:pt>
                <c:pt idx="3626">
                  <c:v>107.4</c:v>
                </c:pt>
                <c:pt idx="3627">
                  <c:v>106.34</c:v>
                </c:pt>
                <c:pt idx="3628">
                  <c:v>106.7</c:v>
                </c:pt>
                <c:pt idx="3629">
                  <c:v>105.49</c:v>
                </c:pt>
                <c:pt idx="3630">
                  <c:v>105.19</c:v>
                </c:pt>
                <c:pt idx="3631">
                  <c:v>107.03</c:v>
                </c:pt>
                <c:pt idx="3632">
                  <c:v>108.09</c:v>
                </c:pt>
                <c:pt idx="3633">
                  <c:v>105.68</c:v>
                </c:pt>
                <c:pt idx="3634">
                  <c:v>106.87</c:v>
                </c:pt>
                <c:pt idx="3635">
                  <c:v>104.98</c:v>
                </c:pt>
                <c:pt idx="3636">
                  <c:v>106.43</c:v>
                </c:pt>
                <c:pt idx="3637">
                  <c:v>107.07</c:v>
                </c:pt>
                <c:pt idx="3638">
                  <c:v>107.32</c:v>
                </c:pt>
                <c:pt idx="3639">
                  <c:v>105.4</c:v>
                </c:pt>
                <c:pt idx="3640">
                  <c:v>102.79</c:v>
                </c:pt>
                <c:pt idx="3641">
                  <c:v>103.03</c:v>
                </c:pt>
                <c:pt idx="3642">
                  <c:v>105.25</c:v>
                </c:pt>
                <c:pt idx="3643">
                  <c:v>104.02</c:v>
                </c:pt>
                <c:pt idx="3644">
                  <c:v>101.53</c:v>
                </c:pt>
                <c:pt idx="3645">
                  <c:v>103.29</c:v>
                </c:pt>
                <c:pt idx="3646">
                  <c:v>102.45</c:v>
                </c:pt>
                <c:pt idx="3647">
                  <c:v>101.12</c:v>
                </c:pt>
                <c:pt idx="3648">
                  <c:v>102.66</c:v>
                </c:pt>
                <c:pt idx="3649">
                  <c:v>103.69</c:v>
                </c:pt>
                <c:pt idx="3650">
                  <c:v>102.84</c:v>
                </c:pt>
                <c:pt idx="3651">
                  <c:v>102.92</c:v>
                </c:pt>
                <c:pt idx="3652">
                  <c:v>104.23</c:v>
                </c:pt>
                <c:pt idx="3653">
                  <c:v>102.65</c:v>
                </c:pt>
                <c:pt idx="3654">
                  <c:v>102.38</c:v>
                </c:pt>
                <c:pt idx="3655">
                  <c:v>103.58</c:v>
                </c:pt>
                <c:pt idx="3656">
                  <c:v>102.68</c:v>
                </c:pt>
                <c:pt idx="3657">
                  <c:v>103.1</c:v>
                </c:pt>
                <c:pt idx="3658">
                  <c:v>103.72</c:v>
                </c:pt>
                <c:pt idx="3659">
                  <c:v>104.56</c:v>
                </c:pt>
                <c:pt idx="3660">
                  <c:v>104.86</c:v>
                </c:pt>
                <c:pt idx="3661">
                  <c:v>104.89</c:v>
                </c:pt>
                <c:pt idx="3662">
                  <c:v>106.17</c:v>
                </c:pt>
                <c:pt idx="3663">
                  <c:v>105.25</c:v>
                </c:pt>
                <c:pt idx="3664">
                  <c:v>102.56</c:v>
                </c:pt>
                <c:pt idx="3665">
                  <c:v>98.49</c:v>
                </c:pt>
                <c:pt idx="3666">
                  <c:v>97.86</c:v>
                </c:pt>
                <c:pt idx="3667">
                  <c:v>97.13</c:v>
                </c:pt>
                <c:pt idx="3668">
                  <c:v>96.8</c:v>
                </c:pt>
                <c:pt idx="3669">
                  <c:v>97.1</c:v>
                </c:pt>
                <c:pt idx="3670">
                  <c:v>96.03</c:v>
                </c:pt>
                <c:pt idx="3671">
                  <c:v>94.75</c:v>
                </c:pt>
                <c:pt idx="3672">
                  <c:v>93.97</c:v>
                </c:pt>
                <c:pt idx="3673">
                  <c:v>92.78</c:v>
                </c:pt>
                <c:pt idx="3674">
                  <c:v>92.53</c:v>
                </c:pt>
                <c:pt idx="3675">
                  <c:v>91.51</c:v>
                </c:pt>
                <c:pt idx="3676">
                  <c:v>92.57</c:v>
                </c:pt>
                <c:pt idx="3677">
                  <c:v>91.44</c:v>
                </c:pt>
                <c:pt idx="3678">
                  <c:v>89.4</c:v>
                </c:pt>
                <c:pt idx="3679">
                  <c:v>90.36</c:v>
                </c:pt>
                <c:pt idx="3680">
                  <c:v>90.64</c:v>
                </c:pt>
                <c:pt idx="3681">
                  <c:v>90.75</c:v>
                </c:pt>
                <c:pt idx="3682">
                  <c:v>87.79</c:v>
                </c:pt>
                <c:pt idx="3683">
                  <c:v>86.52</c:v>
                </c:pt>
                <c:pt idx="3684">
                  <c:v>83.17</c:v>
                </c:pt>
                <c:pt idx="3685">
                  <c:v>83.95</c:v>
                </c:pt>
                <c:pt idx="3686">
                  <c:v>84.31</c:v>
                </c:pt>
                <c:pt idx="3687">
                  <c:v>85.05</c:v>
                </c:pt>
                <c:pt idx="3688">
                  <c:v>84.78</c:v>
                </c:pt>
                <c:pt idx="3689">
                  <c:v>84.08</c:v>
                </c:pt>
                <c:pt idx="3690">
                  <c:v>82.58</c:v>
                </c:pt>
                <c:pt idx="3691">
                  <c:v>83.35</c:v>
                </c:pt>
                <c:pt idx="3692">
                  <c:v>82.56</c:v>
                </c:pt>
                <c:pt idx="3693">
                  <c:v>83.83</c:v>
                </c:pt>
                <c:pt idx="3694">
                  <c:v>84.03</c:v>
                </c:pt>
                <c:pt idx="3695">
                  <c:v>83.26</c:v>
                </c:pt>
                <c:pt idx="3696">
                  <c:v>83.99</c:v>
                </c:pt>
                <c:pt idx="3697">
                  <c:v>81.06</c:v>
                </c:pt>
                <c:pt idx="3698">
                  <c:v>77.91</c:v>
                </c:pt>
                <c:pt idx="3699">
                  <c:v>79.33</c:v>
                </c:pt>
                <c:pt idx="3700">
                  <c:v>78.760000000000005</c:v>
                </c:pt>
                <c:pt idx="3701">
                  <c:v>79.34</c:v>
                </c:pt>
                <c:pt idx="3702">
                  <c:v>80.27</c:v>
                </c:pt>
                <c:pt idx="3703">
                  <c:v>77.72</c:v>
                </c:pt>
                <c:pt idx="3704">
                  <c:v>85.04</c:v>
                </c:pt>
                <c:pt idx="3705">
                  <c:v>83.72</c:v>
                </c:pt>
                <c:pt idx="3706">
                  <c:v>87.74</c:v>
                </c:pt>
                <c:pt idx="3707">
                  <c:v>87.11</c:v>
                </c:pt>
                <c:pt idx="3708">
                  <c:v>84.37</c:v>
                </c:pt>
                <c:pt idx="3709">
                  <c:v>85.93</c:v>
                </c:pt>
                <c:pt idx="3710">
                  <c:v>83.92</c:v>
                </c:pt>
                <c:pt idx="3711">
                  <c:v>85.88</c:v>
                </c:pt>
                <c:pt idx="3712">
                  <c:v>86.02</c:v>
                </c:pt>
                <c:pt idx="3713">
                  <c:v>87.15</c:v>
                </c:pt>
                <c:pt idx="3714">
                  <c:v>88.41</c:v>
                </c:pt>
                <c:pt idx="3715">
                  <c:v>89.07</c:v>
                </c:pt>
                <c:pt idx="3716">
                  <c:v>89.88</c:v>
                </c:pt>
                <c:pt idx="3717">
                  <c:v>92.78</c:v>
                </c:pt>
                <c:pt idx="3718">
                  <c:v>91.56</c:v>
                </c:pt>
                <c:pt idx="3719">
                  <c:v>87.77</c:v>
                </c:pt>
                <c:pt idx="3720">
                  <c:v>88.28</c:v>
                </c:pt>
                <c:pt idx="3721">
                  <c:v>88.8</c:v>
                </c:pt>
                <c:pt idx="3722">
                  <c:v>89.4</c:v>
                </c:pt>
                <c:pt idx="3723">
                  <c:v>90.13</c:v>
                </c:pt>
                <c:pt idx="3724">
                  <c:v>89.8</c:v>
                </c:pt>
                <c:pt idx="3725">
                  <c:v>88.08</c:v>
                </c:pt>
                <c:pt idx="3726">
                  <c:v>88.99</c:v>
                </c:pt>
                <c:pt idx="3727">
                  <c:v>87.22</c:v>
                </c:pt>
                <c:pt idx="3728">
                  <c:v>91.4</c:v>
                </c:pt>
                <c:pt idx="3729">
                  <c:v>92.3</c:v>
                </c:pt>
                <c:pt idx="3730">
                  <c:v>93.68</c:v>
                </c:pt>
                <c:pt idx="3731">
                  <c:v>93.39</c:v>
                </c:pt>
                <c:pt idx="3732">
                  <c:v>93.39</c:v>
                </c:pt>
                <c:pt idx="3733">
                  <c:v>92.94</c:v>
                </c:pt>
                <c:pt idx="3734">
                  <c:v>92.76</c:v>
                </c:pt>
                <c:pt idx="3735">
                  <c:v>93.4</c:v>
                </c:pt>
                <c:pt idx="3736">
                  <c:v>94.35</c:v>
                </c:pt>
                <c:pt idx="3737">
                  <c:v>95.66</c:v>
                </c:pt>
                <c:pt idx="3738">
                  <c:v>96</c:v>
                </c:pt>
                <c:pt idx="3739">
                  <c:v>96.03</c:v>
                </c:pt>
                <c:pt idx="3740">
                  <c:v>96.55</c:v>
                </c:pt>
                <c:pt idx="3741">
                  <c:v>96.89</c:v>
                </c:pt>
                <c:pt idx="3742">
                  <c:v>95.87</c:v>
                </c:pt>
                <c:pt idx="3743">
                  <c:v>95.78</c:v>
                </c:pt>
                <c:pt idx="3744">
                  <c:v>95.54</c:v>
                </c:pt>
                <c:pt idx="3745">
                  <c:v>96.3</c:v>
                </c:pt>
                <c:pt idx="3746">
                  <c:v>95.5</c:v>
                </c:pt>
                <c:pt idx="3747">
                  <c:v>94.61</c:v>
                </c:pt>
                <c:pt idx="3748">
                  <c:v>96.47</c:v>
                </c:pt>
                <c:pt idx="3749">
                  <c:v>95.34</c:v>
                </c:pt>
                <c:pt idx="3750">
                  <c:v>95.37</c:v>
                </c:pt>
                <c:pt idx="3751">
                  <c:v>95.58</c:v>
                </c:pt>
                <c:pt idx="3752">
                  <c:v>96.41</c:v>
                </c:pt>
                <c:pt idx="3753">
                  <c:v>96.52</c:v>
                </c:pt>
                <c:pt idx="3754">
                  <c:v>97.03</c:v>
                </c:pt>
                <c:pt idx="3755">
                  <c:v>97.02</c:v>
                </c:pt>
                <c:pt idx="3756">
                  <c:v>98.3</c:v>
                </c:pt>
                <c:pt idx="3757">
                  <c:v>98.94</c:v>
                </c:pt>
                <c:pt idx="3758">
                  <c:v>96.51</c:v>
                </c:pt>
                <c:pt idx="3759">
                  <c:v>95.25</c:v>
                </c:pt>
                <c:pt idx="3760">
                  <c:v>91.97</c:v>
                </c:pt>
                <c:pt idx="3761">
                  <c:v>92.14</c:v>
                </c:pt>
                <c:pt idx="3762">
                  <c:v>92.64</c:v>
                </c:pt>
                <c:pt idx="3763">
                  <c:v>91.68</c:v>
                </c:pt>
                <c:pt idx="3764">
                  <c:v>91.07</c:v>
                </c:pt>
                <c:pt idx="3765">
                  <c:v>89.92</c:v>
                </c:pt>
                <c:pt idx="3766">
                  <c:v>91.89</c:v>
                </c:pt>
                <c:pt idx="3767">
                  <c:v>92.18</c:v>
                </c:pt>
                <c:pt idx="3768">
                  <c:v>92.44</c:v>
                </c:pt>
                <c:pt idx="3769">
                  <c:v>91.88</c:v>
                </c:pt>
                <c:pt idx="3770">
                  <c:v>88.19</c:v>
                </c:pt>
                <c:pt idx="3771">
                  <c:v>91.69</c:v>
                </c:pt>
                <c:pt idx="3772">
                  <c:v>89.87</c:v>
                </c:pt>
                <c:pt idx="3773">
                  <c:v>89.43</c:v>
                </c:pt>
                <c:pt idx="3774">
                  <c:v>92.42</c:v>
                </c:pt>
                <c:pt idx="3775">
                  <c:v>91.24</c:v>
                </c:pt>
                <c:pt idx="3776">
                  <c:v>92.19</c:v>
                </c:pt>
                <c:pt idx="3777">
                  <c:v>91.83</c:v>
                </c:pt>
                <c:pt idx="3778">
                  <c:v>91.84</c:v>
                </c:pt>
                <c:pt idx="3779">
                  <c:v>92.07</c:v>
                </c:pt>
                <c:pt idx="3780">
                  <c:v>92.04</c:v>
                </c:pt>
                <c:pt idx="3781">
                  <c:v>92</c:v>
                </c:pt>
                <c:pt idx="3782">
                  <c:v>90</c:v>
                </c:pt>
                <c:pt idx="3783">
                  <c:v>88.3</c:v>
                </c:pt>
                <c:pt idx="3784">
                  <c:v>86.65</c:v>
                </c:pt>
                <c:pt idx="3785">
                  <c:v>85.39</c:v>
                </c:pt>
                <c:pt idx="3786">
                  <c:v>85.59</c:v>
                </c:pt>
                <c:pt idx="3787">
                  <c:v>85.84</c:v>
                </c:pt>
                <c:pt idx="3788">
                  <c:v>85.52</c:v>
                </c:pt>
                <c:pt idx="3789">
                  <c:v>85.65</c:v>
                </c:pt>
                <c:pt idx="3790">
                  <c:v>86.23</c:v>
                </c:pt>
                <c:pt idx="3791">
                  <c:v>87.05</c:v>
                </c:pt>
                <c:pt idx="3792">
                  <c:v>84.9</c:v>
                </c:pt>
                <c:pt idx="3793">
                  <c:v>85.64</c:v>
                </c:pt>
                <c:pt idx="3794">
                  <c:v>88.62</c:v>
                </c:pt>
                <c:pt idx="3795">
                  <c:v>84.5</c:v>
                </c:pt>
                <c:pt idx="3796">
                  <c:v>85.07</c:v>
                </c:pt>
                <c:pt idx="3797">
                  <c:v>86.08</c:v>
                </c:pt>
                <c:pt idx="3798">
                  <c:v>85.56</c:v>
                </c:pt>
                <c:pt idx="3799">
                  <c:v>85.38</c:v>
                </c:pt>
                <c:pt idx="3800">
                  <c:v>86.32</c:v>
                </c:pt>
                <c:pt idx="3801">
                  <c:v>85.45</c:v>
                </c:pt>
                <c:pt idx="3802">
                  <c:v>86.62</c:v>
                </c:pt>
                <c:pt idx="3803">
                  <c:v>89.05</c:v>
                </c:pt>
                <c:pt idx="3804">
                  <c:v>86.46</c:v>
                </c:pt>
                <c:pt idx="3805">
                  <c:v>87.08</c:v>
                </c:pt>
                <c:pt idx="3806">
                  <c:v>87.01</c:v>
                </c:pt>
                <c:pt idx="3807">
                  <c:v>87.28</c:v>
                </c:pt>
                <c:pt idx="3808">
                  <c:v>86.81</c:v>
                </c:pt>
                <c:pt idx="3809">
                  <c:v>86.1</c:v>
                </c:pt>
                <c:pt idx="3810">
                  <c:v>87.64</c:v>
                </c:pt>
                <c:pt idx="3811">
                  <c:v>88.54</c:v>
                </c:pt>
                <c:pt idx="3812">
                  <c:v>88.69</c:v>
                </c:pt>
                <c:pt idx="3813">
                  <c:v>88.04</c:v>
                </c:pt>
                <c:pt idx="3814">
                  <c:v>87.36</c:v>
                </c:pt>
                <c:pt idx="3815">
                  <c:v>85.47</c:v>
                </c:pt>
                <c:pt idx="3816">
                  <c:v>85.45</c:v>
                </c:pt>
                <c:pt idx="3817">
                  <c:v>85.14</c:v>
                </c:pt>
                <c:pt idx="3818">
                  <c:v>85.36</c:v>
                </c:pt>
                <c:pt idx="3819">
                  <c:v>86.35</c:v>
                </c:pt>
                <c:pt idx="3820">
                  <c:v>85.39</c:v>
                </c:pt>
                <c:pt idx="3821">
                  <c:v>86.32</c:v>
                </c:pt>
                <c:pt idx="3822">
                  <c:v>86.71</c:v>
                </c:pt>
                <c:pt idx="3823">
                  <c:v>87.46</c:v>
                </c:pt>
                <c:pt idx="3824">
                  <c:v>89.09</c:v>
                </c:pt>
                <c:pt idx="3825">
                  <c:v>89.76</c:v>
                </c:pt>
                <c:pt idx="3826">
                  <c:v>88.2</c:v>
                </c:pt>
                <c:pt idx="3827">
                  <c:v>88.29</c:v>
                </c:pt>
                <c:pt idx="3828">
                  <c:v>90.71</c:v>
                </c:pt>
                <c:pt idx="3829">
                  <c:v>90.91</c:v>
                </c:pt>
                <c:pt idx="3830">
                  <c:v>90.66</c:v>
                </c:pt>
                <c:pt idx="3831">
                  <c:v>91.83</c:v>
                </c:pt>
                <c:pt idx="3832">
                  <c:v>93.14</c:v>
                </c:pt>
                <c:pt idx="3833">
                  <c:v>92.97</c:v>
                </c:pt>
                <c:pt idx="3834">
                  <c:v>93.12</c:v>
                </c:pt>
                <c:pt idx="3835">
                  <c:v>93.2</c:v>
                </c:pt>
                <c:pt idx="3836">
                  <c:v>93.21</c:v>
                </c:pt>
                <c:pt idx="3837">
                  <c:v>93.08</c:v>
                </c:pt>
                <c:pt idx="3838">
                  <c:v>93.81</c:v>
                </c:pt>
                <c:pt idx="3839">
                  <c:v>93.6</c:v>
                </c:pt>
                <c:pt idx="3840">
                  <c:v>94.27</c:v>
                </c:pt>
                <c:pt idx="3841">
                  <c:v>93.26</c:v>
                </c:pt>
                <c:pt idx="3842">
                  <c:v>94.28</c:v>
                </c:pt>
                <c:pt idx="3843">
                  <c:v>95.49</c:v>
                </c:pt>
                <c:pt idx="3844">
                  <c:v>95.61</c:v>
                </c:pt>
                <c:pt idx="3845">
                  <c:v>96.09</c:v>
                </c:pt>
                <c:pt idx="3846">
                  <c:v>95.06</c:v>
                </c:pt>
                <c:pt idx="3847">
                  <c:v>95.35</c:v>
                </c:pt>
                <c:pt idx="3848">
                  <c:v>95.15</c:v>
                </c:pt>
                <c:pt idx="3849">
                  <c:v>95.95</c:v>
                </c:pt>
                <c:pt idx="3850">
                  <c:v>97.62</c:v>
                </c:pt>
                <c:pt idx="3851">
                  <c:v>97.98</c:v>
                </c:pt>
                <c:pt idx="3852">
                  <c:v>97.65</c:v>
                </c:pt>
                <c:pt idx="3853">
                  <c:v>97.46</c:v>
                </c:pt>
                <c:pt idx="3854">
                  <c:v>96.21</c:v>
                </c:pt>
                <c:pt idx="3855">
                  <c:v>96.68</c:v>
                </c:pt>
                <c:pt idx="3856">
                  <c:v>96.44</c:v>
                </c:pt>
                <c:pt idx="3857">
                  <c:v>95.84</c:v>
                </c:pt>
                <c:pt idx="3858">
                  <c:v>95.71</c:v>
                </c:pt>
                <c:pt idx="3859">
                  <c:v>97.01</c:v>
                </c:pt>
                <c:pt idx="3860">
                  <c:v>97.48</c:v>
                </c:pt>
                <c:pt idx="3861">
                  <c:v>97.03</c:v>
                </c:pt>
                <c:pt idx="3862">
                  <c:v>97.3</c:v>
                </c:pt>
                <c:pt idx="3863">
                  <c:v>95.95</c:v>
                </c:pt>
                <c:pt idx="3864">
                  <c:v>96.69</c:v>
                </c:pt>
                <c:pt idx="3865">
                  <c:v>94.92</c:v>
                </c:pt>
                <c:pt idx="3866">
                  <c:v>92.79</c:v>
                </c:pt>
                <c:pt idx="3867">
                  <c:v>93.12</c:v>
                </c:pt>
                <c:pt idx="3868">
                  <c:v>92.74</c:v>
                </c:pt>
                <c:pt idx="3869">
                  <c:v>92.63</c:v>
                </c:pt>
                <c:pt idx="3870">
                  <c:v>92.84</c:v>
                </c:pt>
                <c:pt idx="3871">
                  <c:v>92.03</c:v>
                </c:pt>
                <c:pt idx="3872">
                  <c:v>90.71</c:v>
                </c:pt>
                <c:pt idx="3873">
                  <c:v>90.13</c:v>
                </c:pt>
                <c:pt idx="3874">
                  <c:v>90.88</c:v>
                </c:pt>
                <c:pt idx="3875">
                  <c:v>90.47</c:v>
                </c:pt>
                <c:pt idx="3876">
                  <c:v>91.53</c:v>
                </c:pt>
                <c:pt idx="3877">
                  <c:v>92.01</c:v>
                </c:pt>
                <c:pt idx="3878">
                  <c:v>92.07</c:v>
                </c:pt>
                <c:pt idx="3879">
                  <c:v>92.44</c:v>
                </c:pt>
                <c:pt idx="3880">
                  <c:v>92.47</c:v>
                </c:pt>
                <c:pt idx="3881">
                  <c:v>93.03</c:v>
                </c:pt>
                <c:pt idx="3882">
                  <c:v>93.49</c:v>
                </c:pt>
                <c:pt idx="3883">
                  <c:v>93.71</c:v>
                </c:pt>
                <c:pt idx="3884">
                  <c:v>92.44</c:v>
                </c:pt>
                <c:pt idx="3885">
                  <c:v>93.21</c:v>
                </c:pt>
                <c:pt idx="3886">
                  <c:v>92.46</c:v>
                </c:pt>
                <c:pt idx="3887">
                  <c:v>93.41</c:v>
                </c:pt>
                <c:pt idx="3888">
                  <c:v>94.55</c:v>
                </c:pt>
                <c:pt idx="3889">
                  <c:v>95.99</c:v>
                </c:pt>
                <c:pt idx="3890">
                  <c:v>96.53</c:v>
                </c:pt>
                <c:pt idx="3891">
                  <c:v>97.24</c:v>
                </c:pt>
                <c:pt idx="3892">
                  <c:v>97.1</c:v>
                </c:pt>
                <c:pt idx="3893">
                  <c:v>97.23</c:v>
                </c:pt>
                <c:pt idx="3894">
                  <c:v>95.02</c:v>
                </c:pt>
                <c:pt idx="3895">
                  <c:v>93.26</c:v>
                </c:pt>
                <c:pt idx="3896">
                  <c:v>92.76</c:v>
                </c:pt>
                <c:pt idx="3897">
                  <c:v>93.36</c:v>
                </c:pt>
                <c:pt idx="3898">
                  <c:v>94.18</c:v>
                </c:pt>
                <c:pt idx="3899">
                  <c:v>94.59</c:v>
                </c:pt>
                <c:pt idx="3900">
                  <c:v>93.44</c:v>
                </c:pt>
                <c:pt idx="3901">
                  <c:v>91.23</c:v>
                </c:pt>
                <c:pt idx="3902">
                  <c:v>88.75</c:v>
                </c:pt>
                <c:pt idx="3903">
                  <c:v>88.73</c:v>
                </c:pt>
                <c:pt idx="3904">
                  <c:v>86.65</c:v>
                </c:pt>
                <c:pt idx="3905">
                  <c:v>87.83</c:v>
                </c:pt>
                <c:pt idx="3906">
                  <c:v>88.04</c:v>
                </c:pt>
                <c:pt idx="3907">
                  <c:v>88.81</c:v>
                </c:pt>
                <c:pt idx="3908">
                  <c:v>89.21</c:v>
                </c:pt>
                <c:pt idx="3909">
                  <c:v>91.07</c:v>
                </c:pt>
                <c:pt idx="3910">
                  <c:v>93.27</c:v>
                </c:pt>
                <c:pt idx="3911">
                  <c:v>92.63</c:v>
                </c:pt>
                <c:pt idx="3912">
                  <c:v>94.09</c:v>
                </c:pt>
                <c:pt idx="3913">
                  <c:v>93.22</c:v>
                </c:pt>
                <c:pt idx="3914">
                  <c:v>90.74</c:v>
                </c:pt>
                <c:pt idx="3915">
                  <c:v>93.7</c:v>
                </c:pt>
                <c:pt idx="3916">
                  <c:v>95.25</c:v>
                </c:pt>
                <c:pt idx="3917">
                  <c:v>95.8</c:v>
                </c:pt>
                <c:pt idx="3918">
                  <c:v>95.28</c:v>
                </c:pt>
                <c:pt idx="3919">
                  <c:v>96.24</c:v>
                </c:pt>
                <c:pt idx="3920">
                  <c:v>96.09</c:v>
                </c:pt>
                <c:pt idx="3921">
                  <c:v>95.81</c:v>
                </c:pt>
                <c:pt idx="3922">
                  <c:v>94.76</c:v>
                </c:pt>
                <c:pt idx="3923">
                  <c:v>93.96</c:v>
                </c:pt>
                <c:pt idx="3924">
                  <c:v>93.95</c:v>
                </c:pt>
                <c:pt idx="3925">
                  <c:v>94.85</c:v>
                </c:pt>
                <c:pt idx="3926">
                  <c:v>95.72</c:v>
                </c:pt>
                <c:pt idx="3927">
                  <c:v>96.29</c:v>
                </c:pt>
                <c:pt idx="3928">
                  <c:v>95.55</c:v>
                </c:pt>
                <c:pt idx="3929">
                  <c:v>93.98</c:v>
                </c:pt>
                <c:pt idx="3930">
                  <c:v>94.12</c:v>
                </c:pt>
                <c:pt idx="3931">
                  <c:v>93.84</c:v>
                </c:pt>
                <c:pt idx="3932">
                  <c:v>94.65</c:v>
                </c:pt>
                <c:pt idx="3933">
                  <c:v>93.13</c:v>
                </c:pt>
                <c:pt idx="3934">
                  <c:v>93.57</c:v>
                </c:pt>
                <c:pt idx="3935">
                  <c:v>91.93</c:v>
                </c:pt>
                <c:pt idx="3936">
                  <c:v>93.41</c:v>
                </c:pt>
                <c:pt idx="3937">
                  <c:v>93.36</c:v>
                </c:pt>
                <c:pt idx="3938">
                  <c:v>93.66</c:v>
                </c:pt>
                <c:pt idx="3939">
                  <c:v>94.71</c:v>
                </c:pt>
                <c:pt idx="3940">
                  <c:v>96.11</c:v>
                </c:pt>
                <c:pt idx="3941">
                  <c:v>95.82</c:v>
                </c:pt>
                <c:pt idx="3942">
                  <c:v>95.5</c:v>
                </c:pt>
                <c:pt idx="3943">
                  <c:v>95.98</c:v>
                </c:pt>
                <c:pt idx="3944">
                  <c:v>96.66</c:v>
                </c:pt>
                <c:pt idx="3945">
                  <c:v>97.83</c:v>
                </c:pt>
                <c:pt idx="3946">
                  <c:v>97.86</c:v>
                </c:pt>
                <c:pt idx="3947">
                  <c:v>98.46</c:v>
                </c:pt>
                <c:pt idx="3948">
                  <c:v>98.24</c:v>
                </c:pt>
                <c:pt idx="3949">
                  <c:v>94.89</c:v>
                </c:pt>
                <c:pt idx="3950">
                  <c:v>93.81</c:v>
                </c:pt>
                <c:pt idx="3951">
                  <c:v>95.07</c:v>
                </c:pt>
                <c:pt idx="3952">
                  <c:v>95.25</c:v>
                </c:pt>
                <c:pt idx="3953">
                  <c:v>95.47</c:v>
                </c:pt>
                <c:pt idx="3954">
                  <c:v>97</c:v>
                </c:pt>
                <c:pt idx="3955">
                  <c:v>96.36</c:v>
                </c:pt>
                <c:pt idx="3956">
                  <c:v>97.94</c:v>
                </c:pt>
                <c:pt idx="3957">
                  <c:v>99.65</c:v>
                </c:pt>
                <c:pt idx="3958">
                  <c:v>101.92</c:v>
                </c:pt>
                <c:pt idx="3959">
                  <c:v>103.09</c:v>
                </c:pt>
                <c:pt idx="3960">
                  <c:v>103.03</c:v>
                </c:pt>
                <c:pt idx="3961">
                  <c:v>103.46</c:v>
                </c:pt>
                <c:pt idx="3962">
                  <c:v>106.41</c:v>
                </c:pt>
                <c:pt idx="3963">
                  <c:v>104.77</c:v>
                </c:pt>
                <c:pt idx="3964">
                  <c:v>105.85</c:v>
                </c:pt>
                <c:pt idx="3965">
                  <c:v>106.2</c:v>
                </c:pt>
                <c:pt idx="3966">
                  <c:v>105.88</c:v>
                </c:pt>
                <c:pt idx="3967">
                  <c:v>106.39</c:v>
                </c:pt>
                <c:pt idx="3968">
                  <c:v>107.94</c:v>
                </c:pt>
                <c:pt idx="3969">
                  <c:v>108</c:v>
                </c:pt>
                <c:pt idx="3970">
                  <c:v>106.61</c:v>
                </c:pt>
                <c:pt idx="3971">
                  <c:v>107.13</c:v>
                </c:pt>
                <c:pt idx="3972">
                  <c:v>105.41</c:v>
                </c:pt>
                <c:pt idx="3973">
                  <c:v>105.47</c:v>
                </c:pt>
                <c:pt idx="3974">
                  <c:v>104.76</c:v>
                </c:pt>
                <c:pt idx="3975">
                  <c:v>104.61</c:v>
                </c:pt>
                <c:pt idx="3976">
                  <c:v>103.14</c:v>
                </c:pt>
                <c:pt idx="3977">
                  <c:v>105.1</c:v>
                </c:pt>
                <c:pt idx="3978">
                  <c:v>107.93</c:v>
                </c:pt>
                <c:pt idx="3979">
                  <c:v>106.94</c:v>
                </c:pt>
                <c:pt idx="3980">
                  <c:v>106.61</c:v>
                </c:pt>
                <c:pt idx="3981">
                  <c:v>105.32</c:v>
                </c:pt>
                <c:pt idx="3982">
                  <c:v>104.41</c:v>
                </c:pt>
                <c:pt idx="3983">
                  <c:v>103.45</c:v>
                </c:pt>
                <c:pt idx="3984">
                  <c:v>106.04</c:v>
                </c:pt>
                <c:pt idx="3985">
                  <c:v>106.19</c:v>
                </c:pt>
                <c:pt idx="3986">
                  <c:v>106.78</c:v>
                </c:pt>
                <c:pt idx="3987">
                  <c:v>106.89</c:v>
                </c:pt>
                <c:pt idx="3988">
                  <c:v>107.43</c:v>
                </c:pt>
                <c:pt idx="3989">
                  <c:v>107.58</c:v>
                </c:pt>
                <c:pt idx="3990">
                  <c:v>107.14</c:v>
                </c:pt>
                <c:pt idx="3991">
                  <c:v>104.9</c:v>
                </c:pt>
                <c:pt idx="3992">
                  <c:v>103.93</c:v>
                </c:pt>
                <c:pt idx="3993">
                  <c:v>104.93</c:v>
                </c:pt>
                <c:pt idx="3994">
                  <c:v>106.48</c:v>
                </c:pt>
                <c:pt idx="3995">
                  <c:v>105.88</c:v>
                </c:pt>
                <c:pt idx="3996">
                  <c:v>109.11</c:v>
                </c:pt>
                <c:pt idx="3997">
                  <c:v>110.17</c:v>
                </c:pt>
                <c:pt idx="3998">
                  <c:v>108.51</c:v>
                </c:pt>
                <c:pt idx="3999">
                  <c:v>107.98</c:v>
                </c:pt>
                <c:pt idx="4000">
                  <c:v>108.67</c:v>
                </c:pt>
                <c:pt idx="4001">
                  <c:v>107.29</c:v>
                </c:pt>
                <c:pt idx="4002">
                  <c:v>108.5</c:v>
                </c:pt>
                <c:pt idx="4003">
                  <c:v>110.62</c:v>
                </c:pt>
                <c:pt idx="4004">
                  <c:v>109.62</c:v>
                </c:pt>
                <c:pt idx="4005">
                  <c:v>107.48</c:v>
                </c:pt>
                <c:pt idx="4006">
                  <c:v>107.65</c:v>
                </c:pt>
                <c:pt idx="4007">
                  <c:v>108.72</c:v>
                </c:pt>
                <c:pt idx="4008">
                  <c:v>108.31</c:v>
                </c:pt>
                <c:pt idx="4009">
                  <c:v>106.54</c:v>
                </c:pt>
                <c:pt idx="4010">
                  <c:v>105.36</c:v>
                </c:pt>
                <c:pt idx="4011">
                  <c:v>108.23</c:v>
                </c:pt>
                <c:pt idx="4012">
                  <c:v>106.26</c:v>
                </c:pt>
                <c:pt idx="4013">
                  <c:v>104.7</c:v>
                </c:pt>
                <c:pt idx="4014">
                  <c:v>103.62</c:v>
                </c:pt>
                <c:pt idx="4015">
                  <c:v>103.22</c:v>
                </c:pt>
                <c:pt idx="4016">
                  <c:v>102.68</c:v>
                </c:pt>
                <c:pt idx="4017">
                  <c:v>103.1</c:v>
                </c:pt>
                <c:pt idx="4018">
                  <c:v>102.86</c:v>
                </c:pt>
                <c:pt idx="4019">
                  <c:v>102.36</c:v>
                </c:pt>
                <c:pt idx="4020">
                  <c:v>102.09</c:v>
                </c:pt>
                <c:pt idx="4021">
                  <c:v>104.15</c:v>
                </c:pt>
                <c:pt idx="4022">
                  <c:v>103.29</c:v>
                </c:pt>
                <c:pt idx="4023">
                  <c:v>103.83</c:v>
                </c:pt>
                <c:pt idx="4024">
                  <c:v>103.07</c:v>
                </c:pt>
                <c:pt idx="4025">
                  <c:v>103.54</c:v>
                </c:pt>
                <c:pt idx="4026">
                  <c:v>101.63</c:v>
                </c:pt>
                <c:pt idx="4027">
                  <c:v>103.08</c:v>
                </c:pt>
                <c:pt idx="4028">
                  <c:v>102.17</c:v>
                </c:pt>
                <c:pt idx="4029">
                  <c:v>102.46</c:v>
                </c:pt>
                <c:pt idx="4030">
                  <c:v>101.15</c:v>
                </c:pt>
                <c:pt idx="4031">
                  <c:v>102.34</c:v>
                </c:pt>
                <c:pt idx="4032">
                  <c:v>100.72</c:v>
                </c:pt>
                <c:pt idx="4033">
                  <c:v>100.87</c:v>
                </c:pt>
                <c:pt idx="4034">
                  <c:v>99.28</c:v>
                </c:pt>
                <c:pt idx="4035">
                  <c:v>97.63</c:v>
                </c:pt>
                <c:pt idx="4036">
                  <c:v>96.9</c:v>
                </c:pt>
                <c:pt idx="4037">
                  <c:v>96.65</c:v>
                </c:pt>
                <c:pt idx="4038">
                  <c:v>97.4</c:v>
                </c:pt>
                <c:pt idx="4039">
                  <c:v>98.74</c:v>
                </c:pt>
                <c:pt idx="4040">
                  <c:v>98.29</c:v>
                </c:pt>
                <c:pt idx="4041">
                  <c:v>96.81</c:v>
                </c:pt>
                <c:pt idx="4042">
                  <c:v>96.29</c:v>
                </c:pt>
                <c:pt idx="4043">
                  <c:v>94.56</c:v>
                </c:pt>
                <c:pt idx="4044">
                  <c:v>94.58</c:v>
                </c:pt>
                <c:pt idx="4045">
                  <c:v>93.4</c:v>
                </c:pt>
                <c:pt idx="4046">
                  <c:v>94.74</c:v>
                </c:pt>
                <c:pt idx="4047">
                  <c:v>94.25</c:v>
                </c:pt>
                <c:pt idx="4048">
                  <c:v>94.56</c:v>
                </c:pt>
                <c:pt idx="4049">
                  <c:v>95.13</c:v>
                </c:pt>
                <c:pt idx="4050">
                  <c:v>93.12</c:v>
                </c:pt>
                <c:pt idx="4051">
                  <c:v>93.91</c:v>
                </c:pt>
                <c:pt idx="4052">
                  <c:v>93.76</c:v>
                </c:pt>
                <c:pt idx="4053">
                  <c:v>93.8</c:v>
                </c:pt>
                <c:pt idx="4054">
                  <c:v>93.03</c:v>
                </c:pt>
                <c:pt idx="4055">
                  <c:v>93.35</c:v>
                </c:pt>
                <c:pt idx="4056">
                  <c:v>93.34</c:v>
                </c:pt>
                <c:pt idx="4057">
                  <c:v>95.35</c:v>
                </c:pt>
                <c:pt idx="4058">
                  <c:v>94.53</c:v>
                </c:pt>
                <c:pt idx="4059">
                  <c:v>93.86</c:v>
                </c:pt>
                <c:pt idx="4060">
                  <c:v>93.41</c:v>
                </c:pt>
                <c:pt idx="4061">
                  <c:v>92.05</c:v>
                </c:pt>
                <c:pt idx="4062">
                  <c:v>92.55</c:v>
                </c:pt>
                <c:pt idx="4063">
                  <c:v>93.61</c:v>
                </c:pt>
                <c:pt idx="4064">
                  <c:v>95.83</c:v>
                </c:pt>
                <c:pt idx="4065">
                  <c:v>96.97</c:v>
                </c:pt>
                <c:pt idx="4066">
                  <c:v>97.14</c:v>
                </c:pt>
                <c:pt idx="4067">
                  <c:v>97.48</c:v>
                </c:pt>
                <c:pt idx="4068">
                  <c:v>97.1</c:v>
                </c:pt>
                <c:pt idx="4069">
                  <c:v>98.32</c:v>
                </c:pt>
                <c:pt idx="4070">
                  <c:v>97.25</c:v>
                </c:pt>
                <c:pt idx="4071">
                  <c:v>97.21</c:v>
                </c:pt>
                <c:pt idx="4072">
                  <c:v>96.27</c:v>
                </c:pt>
                <c:pt idx="4073">
                  <c:v>97.18</c:v>
                </c:pt>
                <c:pt idx="4074">
                  <c:v>96.99</c:v>
                </c:pt>
                <c:pt idx="4075">
                  <c:v>97.59</c:v>
                </c:pt>
                <c:pt idx="4076">
                  <c:v>98.4</c:v>
                </c:pt>
                <c:pt idx="4077">
                  <c:v>99.11</c:v>
                </c:pt>
                <c:pt idx="4078">
                  <c:v>98.62</c:v>
                </c:pt>
                <c:pt idx="4079">
                  <c:v>98.87</c:v>
                </c:pt>
                <c:pt idx="4080">
                  <c:v>99.18</c:v>
                </c:pt>
                <c:pt idx="4081">
                  <c:v>99.94</c:v>
                </c:pt>
                <c:pt idx="4082">
                  <c:v>98.9</c:v>
                </c:pt>
                <c:pt idx="4083">
                  <c:v>98.17</c:v>
                </c:pt>
                <c:pt idx="4084">
                  <c:v>95.14</c:v>
                </c:pt>
                <c:pt idx="4085">
                  <c:v>93.66</c:v>
                </c:pt>
                <c:pt idx="4086">
                  <c:v>93.12</c:v>
                </c:pt>
                <c:pt idx="4087">
                  <c:v>93.31</c:v>
                </c:pt>
                <c:pt idx="4088">
                  <c:v>91.9</c:v>
                </c:pt>
                <c:pt idx="4089">
                  <c:v>91.36</c:v>
                </c:pt>
                <c:pt idx="4090">
                  <c:v>92.39</c:v>
                </c:pt>
                <c:pt idx="4091">
                  <c:v>91.45</c:v>
                </c:pt>
                <c:pt idx="4092">
                  <c:v>92.15</c:v>
                </c:pt>
                <c:pt idx="4093">
                  <c:v>93.78</c:v>
                </c:pt>
                <c:pt idx="4094">
                  <c:v>93.54</c:v>
                </c:pt>
                <c:pt idx="4095">
                  <c:v>93.96</c:v>
                </c:pt>
                <c:pt idx="4097">
                  <c:v>94.51</c:v>
                </c:pt>
                <c:pt idx="4098">
                  <c:v>96.35</c:v>
                </c:pt>
                <c:pt idx="4099">
                  <c:v>97.23</c:v>
                </c:pt>
                <c:pt idx="4100">
                  <c:v>96.66</c:v>
                </c:pt>
                <c:pt idx="4101">
                  <c:v>95.82</c:v>
                </c:pt>
                <c:pt idx="4102">
                  <c:v>97.49</c:v>
                </c:pt>
                <c:pt idx="4103">
                  <c:v>97.34</c:v>
                </c:pt>
                <c:pt idx="4104">
                  <c:v>98.25</c:v>
                </c:pt>
                <c:pt idx="4105">
                  <c:v>97.55</c:v>
                </c:pt>
                <c:pt idx="4106">
                  <c:v>96.44</c:v>
                </c:pt>
                <c:pt idx="4107">
                  <c:v>97.24</c:v>
                </c:pt>
                <c:pt idx="4108">
                  <c:v>97.4</c:v>
                </c:pt>
                <c:pt idx="4109">
                  <c:v>97.84</c:v>
                </c:pt>
                <c:pt idx="4110">
                  <c:v>99.98</c:v>
                </c:pt>
                <c:pt idx="4111">
                  <c:v>100.12</c:v>
                </c:pt>
                <c:pt idx="4112">
                  <c:v>99.96</c:v>
                </c:pt>
                <c:pt idx="4113">
                  <c:v>100.38</c:v>
                </c:pt>
                <c:pt idx="4114">
                  <c:v>100.27</c:v>
                </c:pt>
                <c:pt idx="4115">
                  <c:v>100.31</c:v>
                </c:pt>
                <c:pt idx="4116">
                  <c:v>102.54</c:v>
                </c:pt>
                <c:pt idx="4117">
                  <c:v>103.46</c:v>
                </c:pt>
                <c:pt idx="4118">
                  <c:v>103.2</c:v>
                </c:pt>
                <c:pt idx="4119">
                  <c:v>102.53</c:v>
                </c:pt>
                <c:pt idx="4120">
                  <c:v>103.17</c:v>
                </c:pt>
                <c:pt idx="4121">
                  <c:v>102.2</c:v>
                </c:pt>
                <c:pt idx="4122">
                  <c:v>102.93</c:v>
                </c:pt>
                <c:pt idx="4123">
                  <c:v>102.68</c:v>
                </c:pt>
                <c:pt idx="4124">
                  <c:v>102.88</c:v>
                </c:pt>
                <c:pt idx="4125">
                  <c:v>105.34</c:v>
                </c:pt>
                <c:pt idx="4126">
                  <c:v>103.64</c:v>
                </c:pt>
                <c:pt idx="4127">
                  <c:v>101.75</c:v>
                </c:pt>
                <c:pt idx="4128">
                  <c:v>101.82</c:v>
                </c:pt>
                <c:pt idx="4129">
                  <c:v>102.82</c:v>
                </c:pt>
                <c:pt idx="4130">
                  <c:v>101.39</c:v>
                </c:pt>
                <c:pt idx="4131">
                  <c:v>100.29</c:v>
                </c:pt>
                <c:pt idx="4132">
                  <c:v>98.29</c:v>
                </c:pt>
                <c:pt idx="4133">
                  <c:v>98.57</c:v>
                </c:pt>
                <c:pt idx="4134">
                  <c:v>99.23</c:v>
                </c:pt>
                <c:pt idx="4135">
                  <c:v>98.43</c:v>
                </c:pt>
                <c:pt idx="4136">
                  <c:v>100.08</c:v>
                </c:pt>
                <c:pt idx="4137">
                  <c:v>100.71</c:v>
                </c:pt>
                <c:pt idx="4138">
                  <c:v>99.68</c:v>
                </c:pt>
                <c:pt idx="4139">
                  <c:v>99.97</c:v>
                </c:pt>
                <c:pt idx="4140">
                  <c:v>100.05</c:v>
                </c:pt>
                <c:pt idx="4141">
                  <c:v>99.66</c:v>
                </c:pt>
                <c:pt idx="4142">
                  <c:v>100.61</c:v>
                </c:pt>
                <c:pt idx="4143">
                  <c:v>101.25</c:v>
                </c:pt>
                <c:pt idx="4144">
                  <c:v>101.73</c:v>
                </c:pt>
                <c:pt idx="4145">
                  <c:v>101.57</c:v>
                </c:pt>
                <c:pt idx="4146">
                  <c:v>99.69</c:v>
                </c:pt>
                <c:pt idx="4147">
                  <c:v>99.6</c:v>
                </c:pt>
                <c:pt idx="4148">
                  <c:v>100.29</c:v>
                </c:pt>
                <c:pt idx="4149">
                  <c:v>101.16</c:v>
                </c:pt>
                <c:pt idx="4150">
                  <c:v>100.43</c:v>
                </c:pt>
                <c:pt idx="4151">
                  <c:v>102.57</c:v>
                </c:pt>
                <c:pt idx="4152">
                  <c:v>103.55</c:v>
                </c:pt>
                <c:pt idx="4153">
                  <c:v>103.37</c:v>
                </c:pt>
                <c:pt idx="4154">
                  <c:v>103.68</c:v>
                </c:pt>
                <c:pt idx="4155">
                  <c:v>104.05</c:v>
                </c:pt>
                <c:pt idx="4156">
                  <c:v>103.7</c:v>
                </c:pt>
                <c:pt idx="4157">
                  <c:v>103.71</c:v>
                </c:pt>
                <c:pt idx="4158">
                  <c:v>104.33</c:v>
                </c:pt>
                <c:pt idx="4159">
                  <c:v>104.35</c:v>
                </c:pt>
                <c:pt idx="4160">
                  <c:v>101.69</c:v>
                </c:pt>
                <c:pt idx="4161">
                  <c:v>101.47</c:v>
                </c:pt>
                <c:pt idx="4162">
                  <c:v>102.2</c:v>
                </c:pt>
                <c:pt idx="4163">
                  <c:v>100.85</c:v>
                </c:pt>
                <c:pt idx="4164">
                  <c:v>101.13</c:v>
                </c:pt>
                <c:pt idx="4165">
                  <c:v>101.56</c:v>
                </c:pt>
                <c:pt idx="4166">
                  <c:v>100.07</c:v>
                </c:pt>
                <c:pt idx="4167">
                  <c:v>99.69</c:v>
                </c:pt>
                <c:pt idx="4168">
                  <c:v>100.09</c:v>
                </c:pt>
                <c:pt idx="4169">
                  <c:v>99.74</c:v>
                </c:pt>
                <c:pt idx="4170">
                  <c:v>99.81</c:v>
                </c:pt>
                <c:pt idx="4171">
                  <c:v>101.06</c:v>
                </c:pt>
                <c:pt idx="4172">
                  <c:v>100.52</c:v>
                </c:pt>
                <c:pt idx="4173">
                  <c:v>100.32</c:v>
                </c:pt>
                <c:pt idx="4174">
                  <c:v>100.89</c:v>
                </c:pt>
                <c:pt idx="4175">
                  <c:v>102.01</c:v>
                </c:pt>
                <c:pt idx="4176">
                  <c:v>102.63</c:v>
                </c:pt>
                <c:pt idx="4177">
                  <c:v>101.74</c:v>
                </c:pt>
                <c:pt idx="4178">
                  <c:v>102.31</c:v>
                </c:pt>
                <c:pt idx="4179">
                  <c:v>102.95</c:v>
                </c:pt>
                <c:pt idx="4180">
                  <c:v>102.8</c:v>
                </c:pt>
                <c:pt idx="4181">
                  <c:v>104.31</c:v>
                </c:pt>
                <c:pt idx="4182">
                  <c:v>104.03</c:v>
                </c:pt>
                <c:pt idx="4183">
                  <c:v>105.01</c:v>
                </c:pt>
                <c:pt idx="4185">
                  <c:v>104.78</c:v>
                </c:pt>
                <c:pt idx="4186">
                  <c:v>103.37</c:v>
                </c:pt>
                <c:pt idx="4187">
                  <c:v>104.26</c:v>
                </c:pt>
                <c:pt idx="4188">
                  <c:v>103.4</c:v>
                </c:pt>
                <c:pt idx="4189">
                  <c:v>103.07</c:v>
                </c:pt>
                <c:pt idx="4190">
                  <c:v>103.34</c:v>
                </c:pt>
                <c:pt idx="4191">
                  <c:v>103.27</c:v>
                </c:pt>
                <c:pt idx="4192">
                  <c:v>103.17</c:v>
                </c:pt>
                <c:pt idx="4193">
                  <c:v>103.32</c:v>
                </c:pt>
                <c:pt idx="4194">
                  <c:v>105.09</c:v>
                </c:pt>
                <c:pt idx="4195">
                  <c:v>105.02</c:v>
                </c:pt>
                <c:pt idx="4196">
                  <c:v>105.04</c:v>
                </c:pt>
                <c:pt idx="4197">
                  <c:v>107.2</c:v>
                </c:pt>
                <c:pt idx="4198">
                  <c:v>107.49</c:v>
                </c:pt>
                <c:pt idx="4199">
                  <c:v>107.52</c:v>
                </c:pt>
                <c:pt idx="4200">
                  <c:v>106.95</c:v>
                </c:pt>
                <c:pt idx="4201">
                  <c:v>106.64</c:v>
                </c:pt>
                <c:pt idx="4202">
                  <c:v>107.08</c:v>
                </c:pt>
                <c:pt idx="4203">
                  <c:v>107.95</c:v>
                </c:pt>
                <c:pt idx="4204">
                  <c:v>106.83</c:v>
                </c:pt>
                <c:pt idx="4205">
                  <c:v>106.64</c:v>
                </c:pt>
                <c:pt idx="4206">
                  <c:v>107.04</c:v>
                </c:pt>
                <c:pt idx="4207">
                  <c:v>106.49</c:v>
                </c:pt>
                <c:pt idx="4208">
                  <c:v>106.46</c:v>
                </c:pt>
                <c:pt idx="4209">
                  <c:v>106.07</c:v>
                </c:pt>
                <c:pt idx="4210">
                  <c:v>106.06</c:v>
                </c:pt>
                <c:pt idx="4211">
                  <c:v>105.18</c:v>
                </c:pt>
                <c:pt idx="4212">
                  <c:v>104.76</c:v>
                </c:pt>
                <c:pt idx="4213">
                  <c:v>104.19</c:v>
                </c:pt>
                <c:pt idx="4214">
                  <c:v>104.06</c:v>
                </c:pt>
                <c:pt idx="4215">
                  <c:v>102.93</c:v>
                </c:pt>
                <c:pt idx="4216">
                  <c:v>103.61</c:v>
                </c:pt>
                <c:pt idx="4217">
                  <c:v>101.48</c:v>
                </c:pt>
                <c:pt idx="4218">
                  <c:v>101.73</c:v>
                </c:pt>
                <c:pt idx="4219">
                  <c:v>100.56</c:v>
                </c:pt>
                <c:pt idx="4220">
                  <c:v>101.88</c:v>
                </c:pt>
                <c:pt idx="4221">
                  <c:v>103.84</c:v>
                </c:pt>
                <c:pt idx="4222">
                  <c:v>103.83</c:v>
                </c:pt>
                <c:pt idx="4223">
                  <c:v>105.34</c:v>
                </c:pt>
                <c:pt idx="4224">
                  <c:v>104.59</c:v>
                </c:pt>
                <c:pt idx="4225">
                  <c:v>103.81</c:v>
                </c:pt>
                <c:pt idx="4226">
                  <c:v>102.76</c:v>
                </c:pt>
                <c:pt idx="4227">
                  <c:v>105.23</c:v>
                </c:pt>
                <c:pt idx="4228">
                  <c:v>105.68</c:v>
                </c:pt>
                <c:pt idx="4229">
                  <c:v>104.91</c:v>
                </c:pt>
                <c:pt idx="4230">
                  <c:v>104.29</c:v>
                </c:pt>
                <c:pt idx="4231">
                  <c:v>98.23</c:v>
                </c:pt>
                <c:pt idx="4232">
                  <c:v>97.86</c:v>
                </c:pt>
                <c:pt idx="4233">
                  <c:v>98.26</c:v>
                </c:pt>
                <c:pt idx="4234">
                  <c:v>97.34</c:v>
                </c:pt>
                <c:pt idx="4235">
                  <c:v>96.93</c:v>
                </c:pt>
                <c:pt idx="4236">
                  <c:v>97.34</c:v>
                </c:pt>
                <c:pt idx="4237">
                  <c:v>97.61</c:v>
                </c:pt>
                <c:pt idx="4238">
                  <c:v>98.09</c:v>
                </c:pt>
                <c:pt idx="4239">
                  <c:v>97.36</c:v>
                </c:pt>
                <c:pt idx="4240">
                  <c:v>97.57</c:v>
                </c:pt>
                <c:pt idx="4241">
                  <c:v>95.54</c:v>
                </c:pt>
                <c:pt idx="4242">
                  <c:v>97.3</c:v>
                </c:pt>
                <c:pt idx="4243">
                  <c:v>96.44</c:v>
                </c:pt>
                <c:pt idx="4244">
                  <c:v>94.35</c:v>
                </c:pt>
                <c:pt idx="4245">
                  <c:v>96.4</c:v>
                </c:pt>
                <c:pt idx="4246">
                  <c:v>93.97</c:v>
                </c:pt>
                <c:pt idx="4247">
                  <c:v>93.61</c:v>
                </c:pt>
                <c:pt idx="4248">
                  <c:v>95.39</c:v>
                </c:pt>
                <c:pt idx="4249">
                  <c:v>95.78</c:v>
                </c:pt>
                <c:pt idx="4250">
                  <c:v>95.82</c:v>
                </c:pt>
                <c:pt idx="4251">
                  <c:v>96.44</c:v>
                </c:pt>
                <c:pt idx="4252">
                  <c:v>97.86</c:v>
                </c:pt>
                <c:pt idx="4253">
                  <c:v>92.92</c:v>
                </c:pt>
                <c:pt idx="4254">
                  <c:v>95.5</c:v>
                </c:pt>
                <c:pt idx="4255">
                  <c:v>94.51</c:v>
                </c:pt>
                <c:pt idx="4256">
                  <c:v>93.32</c:v>
                </c:pt>
                <c:pt idx="4257">
                  <c:v>92.64</c:v>
                </c:pt>
                <c:pt idx="4258">
                  <c:v>92.73</c:v>
                </c:pt>
                <c:pt idx="4259">
                  <c:v>91.71</c:v>
                </c:pt>
                <c:pt idx="4260">
                  <c:v>92.89</c:v>
                </c:pt>
                <c:pt idx="4261">
                  <c:v>92.18</c:v>
                </c:pt>
                <c:pt idx="4262">
                  <c:v>92.86</c:v>
                </c:pt>
                <c:pt idx="4263">
                  <c:v>94.91</c:v>
                </c:pt>
                <c:pt idx="4264">
                  <c:v>94.33</c:v>
                </c:pt>
                <c:pt idx="4265">
                  <c:v>93.07</c:v>
                </c:pt>
                <c:pt idx="4266">
                  <c:v>92.43</c:v>
                </c:pt>
                <c:pt idx="4267">
                  <c:v>91.46</c:v>
                </c:pt>
                <c:pt idx="4268">
                  <c:v>91.55</c:v>
                </c:pt>
                <c:pt idx="4269">
                  <c:v>93.6</c:v>
                </c:pt>
                <c:pt idx="4270">
                  <c:v>93.59</c:v>
                </c:pt>
                <c:pt idx="4271">
                  <c:v>95.55</c:v>
                </c:pt>
                <c:pt idx="4272">
                  <c:v>94.53</c:v>
                </c:pt>
                <c:pt idx="4273">
                  <c:v>91.17</c:v>
                </c:pt>
                <c:pt idx="4274">
                  <c:v>90.74</c:v>
                </c:pt>
                <c:pt idx="4275">
                  <c:v>91.02</c:v>
                </c:pt>
                <c:pt idx="4276">
                  <c:v>89.76</c:v>
                </c:pt>
                <c:pt idx="4277">
                  <c:v>90.33</c:v>
                </c:pt>
                <c:pt idx="4278">
                  <c:v>88.89</c:v>
                </c:pt>
                <c:pt idx="4279">
                  <c:v>87.29</c:v>
                </c:pt>
                <c:pt idx="4280">
                  <c:v>85.76</c:v>
                </c:pt>
                <c:pt idx="4281">
                  <c:v>85.87</c:v>
                </c:pt>
                <c:pt idx="4282">
                  <c:v>85.73</c:v>
                </c:pt>
                <c:pt idx="4283">
                  <c:v>81.72</c:v>
                </c:pt>
                <c:pt idx="4284">
                  <c:v>81.819999999999993</c:v>
                </c:pt>
                <c:pt idx="4285">
                  <c:v>82.33</c:v>
                </c:pt>
                <c:pt idx="4286">
                  <c:v>82.8</c:v>
                </c:pt>
                <c:pt idx="4287">
                  <c:v>82.76</c:v>
                </c:pt>
                <c:pt idx="4288">
                  <c:v>83.25</c:v>
                </c:pt>
                <c:pt idx="4289">
                  <c:v>80.52</c:v>
                </c:pt>
                <c:pt idx="4290">
                  <c:v>82.81</c:v>
                </c:pt>
                <c:pt idx="4291">
                  <c:v>81.27</c:v>
                </c:pt>
                <c:pt idx="4292">
                  <c:v>81.260000000000005</c:v>
                </c:pt>
                <c:pt idx="4293">
                  <c:v>81.36</c:v>
                </c:pt>
                <c:pt idx="4294">
                  <c:v>82.25</c:v>
                </c:pt>
                <c:pt idx="4295">
                  <c:v>81.06</c:v>
                </c:pt>
                <c:pt idx="4296">
                  <c:v>80.53</c:v>
                </c:pt>
                <c:pt idx="4297">
                  <c:v>78.77</c:v>
                </c:pt>
                <c:pt idx="4298">
                  <c:v>77.150000000000006</c:v>
                </c:pt>
                <c:pt idx="4299">
                  <c:v>78.709999999999994</c:v>
                </c:pt>
                <c:pt idx="4300">
                  <c:v>77.87</c:v>
                </c:pt>
                <c:pt idx="4301">
                  <c:v>78.709999999999994</c:v>
                </c:pt>
                <c:pt idx="4302">
                  <c:v>77.430000000000007</c:v>
                </c:pt>
                <c:pt idx="4303">
                  <c:v>77.849999999999994</c:v>
                </c:pt>
                <c:pt idx="4304">
                  <c:v>77.16</c:v>
                </c:pt>
                <c:pt idx="4305">
                  <c:v>74.13</c:v>
                </c:pt>
                <c:pt idx="4306">
                  <c:v>75.91</c:v>
                </c:pt>
                <c:pt idx="4307">
                  <c:v>75.64</c:v>
                </c:pt>
                <c:pt idx="4308">
                  <c:v>74.55</c:v>
                </c:pt>
                <c:pt idx="4309">
                  <c:v>74.55</c:v>
                </c:pt>
                <c:pt idx="4310">
                  <c:v>75.63</c:v>
                </c:pt>
                <c:pt idx="4311">
                  <c:v>76.52</c:v>
                </c:pt>
                <c:pt idx="4312">
                  <c:v>75.739999999999995</c:v>
                </c:pt>
                <c:pt idx="4313">
                  <c:v>74.040000000000006</c:v>
                </c:pt>
                <c:pt idx="4314">
                  <c:v>73.7</c:v>
                </c:pt>
                <c:pt idx="4315">
                  <c:v>65.94</c:v>
                </c:pt>
                <c:pt idx="4316">
                  <c:v>68.98</c:v>
                </c:pt>
                <c:pt idx="4317">
                  <c:v>66.989999999999995</c:v>
                </c:pt>
                <c:pt idx="4318">
                  <c:v>67.3</c:v>
                </c:pt>
                <c:pt idx="4319">
                  <c:v>66.73</c:v>
                </c:pt>
                <c:pt idx="4320">
                  <c:v>65.89</c:v>
                </c:pt>
                <c:pt idx="4321">
                  <c:v>63.13</c:v>
                </c:pt>
                <c:pt idx="4322">
                  <c:v>63.74</c:v>
                </c:pt>
                <c:pt idx="4323">
                  <c:v>60.99</c:v>
                </c:pt>
                <c:pt idx="4324">
                  <c:v>60.01</c:v>
                </c:pt>
                <c:pt idx="4325">
                  <c:v>57.81</c:v>
                </c:pt>
                <c:pt idx="4326">
                  <c:v>55.96</c:v>
                </c:pt>
                <c:pt idx="4327">
                  <c:v>55.97</c:v>
                </c:pt>
                <c:pt idx="4328">
                  <c:v>56.43</c:v>
                </c:pt>
                <c:pt idx="4329">
                  <c:v>54.18</c:v>
                </c:pt>
                <c:pt idx="4330">
                  <c:v>56.91</c:v>
                </c:pt>
                <c:pt idx="4331">
                  <c:v>55.25</c:v>
                </c:pt>
                <c:pt idx="4332">
                  <c:v>56.78</c:v>
                </c:pt>
                <c:pt idx="4333">
                  <c:v>55.7</c:v>
                </c:pt>
                <c:pt idx="4334">
                  <c:v>54.59</c:v>
                </c:pt>
                <c:pt idx="4335">
                  <c:v>53.46</c:v>
                </c:pt>
                <c:pt idx="4336">
                  <c:v>54.14</c:v>
                </c:pt>
                <c:pt idx="4337">
                  <c:v>53.45</c:v>
                </c:pt>
                <c:pt idx="4338">
                  <c:v>52.72</c:v>
                </c:pt>
                <c:pt idx="4339">
                  <c:v>50.05</c:v>
                </c:pt>
                <c:pt idx="4340">
                  <c:v>47.98</c:v>
                </c:pt>
                <c:pt idx="4341">
                  <c:v>48.69</c:v>
                </c:pt>
                <c:pt idx="4342">
                  <c:v>48.8</c:v>
                </c:pt>
                <c:pt idx="4343">
                  <c:v>48.35</c:v>
                </c:pt>
                <c:pt idx="4344">
                  <c:v>46.06</c:v>
                </c:pt>
                <c:pt idx="4345">
                  <c:v>45.92</c:v>
                </c:pt>
                <c:pt idx="4346">
                  <c:v>48.49</c:v>
                </c:pt>
                <c:pt idx="4347">
                  <c:v>46.37</c:v>
                </c:pt>
                <c:pt idx="4348">
                  <c:v>48.49</c:v>
                </c:pt>
                <c:pt idx="4349">
                  <c:v>46.79</c:v>
                </c:pt>
                <c:pt idx="4350">
                  <c:v>47.85</c:v>
                </c:pt>
                <c:pt idx="4351">
                  <c:v>45.93</c:v>
                </c:pt>
                <c:pt idx="4352">
                  <c:v>45.26</c:v>
                </c:pt>
                <c:pt idx="4353">
                  <c:v>44.8</c:v>
                </c:pt>
                <c:pt idx="4354">
                  <c:v>45.84</c:v>
                </c:pt>
                <c:pt idx="4355">
                  <c:v>44.08</c:v>
                </c:pt>
                <c:pt idx="4356">
                  <c:v>44.12</c:v>
                </c:pt>
                <c:pt idx="4357">
                  <c:v>47.79</c:v>
                </c:pt>
                <c:pt idx="4358">
                  <c:v>49.25</c:v>
                </c:pt>
                <c:pt idx="4359">
                  <c:v>53.04</c:v>
                </c:pt>
                <c:pt idx="4360">
                  <c:v>48.45</c:v>
                </c:pt>
                <c:pt idx="4361">
                  <c:v>50.48</c:v>
                </c:pt>
                <c:pt idx="4362">
                  <c:v>51.66</c:v>
                </c:pt>
                <c:pt idx="4363">
                  <c:v>52.99</c:v>
                </c:pt>
                <c:pt idx="4364">
                  <c:v>50.06</c:v>
                </c:pt>
                <c:pt idx="4365">
                  <c:v>48.8</c:v>
                </c:pt>
                <c:pt idx="4366">
                  <c:v>51.17</c:v>
                </c:pt>
                <c:pt idx="4367">
                  <c:v>52.66</c:v>
                </c:pt>
                <c:pt idx="4369">
                  <c:v>53.56</c:v>
                </c:pt>
                <c:pt idx="4370">
                  <c:v>52.13</c:v>
                </c:pt>
                <c:pt idx="4371">
                  <c:v>51.12</c:v>
                </c:pt>
                <c:pt idx="4372">
                  <c:v>49.95</c:v>
                </c:pt>
                <c:pt idx="4373">
                  <c:v>49.56</c:v>
                </c:pt>
                <c:pt idx="4374">
                  <c:v>48.48</c:v>
                </c:pt>
                <c:pt idx="4375">
                  <c:v>50.25</c:v>
                </c:pt>
                <c:pt idx="4376">
                  <c:v>47.65</c:v>
                </c:pt>
                <c:pt idx="4377">
                  <c:v>49.84</c:v>
                </c:pt>
                <c:pt idx="4378">
                  <c:v>49.59</c:v>
                </c:pt>
                <c:pt idx="4379">
                  <c:v>50.43</c:v>
                </c:pt>
                <c:pt idx="4380">
                  <c:v>51.53</c:v>
                </c:pt>
                <c:pt idx="4381">
                  <c:v>50.76</c:v>
                </c:pt>
                <c:pt idx="4382">
                  <c:v>49.61</c:v>
                </c:pt>
                <c:pt idx="4383">
                  <c:v>49.95</c:v>
                </c:pt>
                <c:pt idx="4384">
                  <c:v>48.42</c:v>
                </c:pt>
                <c:pt idx="4385">
                  <c:v>48.06</c:v>
                </c:pt>
                <c:pt idx="4386">
                  <c:v>47.12</c:v>
                </c:pt>
                <c:pt idx="4387">
                  <c:v>44.88</c:v>
                </c:pt>
                <c:pt idx="4388">
                  <c:v>43.93</c:v>
                </c:pt>
                <c:pt idx="4389">
                  <c:v>43.39</c:v>
                </c:pt>
                <c:pt idx="4390">
                  <c:v>44.63</c:v>
                </c:pt>
                <c:pt idx="4391">
                  <c:v>44.02</c:v>
                </c:pt>
                <c:pt idx="4392">
                  <c:v>46</c:v>
                </c:pt>
                <c:pt idx="4393">
                  <c:v>47.4</c:v>
                </c:pt>
                <c:pt idx="4394">
                  <c:v>47.03</c:v>
                </c:pt>
                <c:pt idx="4395">
                  <c:v>48.75</c:v>
                </c:pt>
                <c:pt idx="4396">
                  <c:v>51.41</c:v>
                </c:pt>
                <c:pt idx="4397">
                  <c:v>48.83</c:v>
                </c:pt>
                <c:pt idx="4398">
                  <c:v>48.66</c:v>
                </c:pt>
                <c:pt idx="4399">
                  <c:v>47.72</c:v>
                </c:pt>
                <c:pt idx="4400">
                  <c:v>50.12</c:v>
                </c:pt>
                <c:pt idx="4401">
                  <c:v>49.13</c:v>
                </c:pt>
                <c:pt idx="4402">
                  <c:v>52.08</c:v>
                </c:pt>
                <c:pt idx="4403">
                  <c:v>53.95</c:v>
                </c:pt>
                <c:pt idx="4404">
                  <c:v>50.44</c:v>
                </c:pt>
                <c:pt idx="4405">
                  <c:v>50.79</c:v>
                </c:pt>
                <c:pt idx="4406">
                  <c:v>51.63</c:v>
                </c:pt>
                <c:pt idx="4407">
                  <c:v>51.95</c:v>
                </c:pt>
                <c:pt idx="4408">
                  <c:v>53.3</c:v>
                </c:pt>
                <c:pt idx="4409">
                  <c:v>56.25</c:v>
                </c:pt>
                <c:pt idx="4410">
                  <c:v>56.69</c:v>
                </c:pt>
                <c:pt idx="4411">
                  <c:v>55.71</c:v>
                </c:pt>
                <c:pt idx="4412">
                  <c:v>56.37</c:v>
                </c:pt>
                <c:pt idx="4413">
                  <c:v>55.58</c:v>
                </c:pt>
                <c:pt idx="4414">
                  <c:v>56.17</c:v>
                </c:pt>
                <c:pt idx="4415">
                  <c:v>56.59</c:v>
                </c:pt>
                <c:pt idx="4416">
                  <c:v>55.98</c:v>
                </c:pt>
                <c:pt idx="4417">
                  <c:v>55.56</c:v>
                </c:pt>
                <c:pt idx="4418">
                  <c:v>57.05</c:v>
                </c:pt>
                <c:pt idx="4419">
                  <c:v>58.55</c:v>
                </c:pt>
                <c:pt idx="4420">
                  <c:v>59.62</c:v>
                </c:pt>
                <c:pt idx="4421">
                  <c:v>59.1</c:v>
                </c:pt>
                <c:pt idx="4422">
                  <c:v>58.92</c:v>
                </c:pt>
                <c:pt idx="4423">
                  <c:v>60.38</c:v>
                </c:pt>
                <c:pt idx="4424">
                  <c:v>60.93</c:v>
                </c:pt>
                <c:pt idx="4425">
                  <c:v>58.99</c:v>
                </c:pt>
                <c:pt idx="4426">
                  <c:v>59.41</c:v>
                </c:pt>
                <c:pt idx="4427">
                  <c:v>59.23</c:v>
                </c:pt>
                <c:pt idx="4428">
                  <c:v>60.72</c:v>
                </c:pt>
                <c:pt idx="4429">
                  <c:v>60.5</c:v>
                </c:pt>
                <c:pt idx="4430">
                  <c:v>59.89</c:v>
                </c:pt>
                <c:pt idx="4431">
                  <c:v>59.73</c:v>
                </c:pt>
                <c:pt idx="4432">
                  <c:v>59.44</c:v>
                </c:pt>
                <c:pt idx="4433">
                  <c:v>57.3</c:v>
                </c:pt>
                <c:pt idx="4434">
                  <c:v>58.96</c:v>
                </c:pt>
                <c:pt idx="4435">
                  <c:v>60.18</c:v>
                </c:pt>
                <c:pt idx="4436">
                  <c:v>58.88</c:v>
                </c:pt>
                <c:pt idx="4437">
                  <c:v>57.29</c:v>
                </c:pt>
                <c:pt idx="4438">
                  <c:v>57.51</c:v>
                </c:pt>
                <c:pt idx="4439">
                  <c:v>57.69</c:v>
                </c:pt>
                <c:pt idx="4440">
                  <c:v>60.25</c:v>
                </c:pt>
                <c:pt idx="4441">
                  <c:v>60.24</c:v>
                </c:pt>
                <c:pt idx="4442">
                  <c:v>61.3</c:v>
                </c:pt>
                <c:pt idx="4443">
                  <c:v>59.67</c:v>
                </c:pt>
                <c:pt idx="4444">
                  <c:v>58</c:v>
                </c:pt>
                <c:pt idx="4445">
                  <c:v>59.11</c:v>
                </c:pt>
                <c:pt idx="4446">
                  <c:v>58.15</c:v>
                </c:pt>
                <c:pt idx="4447">
                  <c:v>60.15</c:v>
                </c:pt>
                <c:pt idx="4448">
                  <c:v>61.36</c:v>
                </c:pt>
                <c:pt idx="4449">
                  <c:v>60.74</c:v>
                </c:pt>
                <c:pt idx="4450">
                  <c:v>59.96</c:v>
                </c:pt>
                <c:pt idx="4451">
                  <c:v>59.53</c:v>
                </c:pt>
                <c:pt idx="4452">
                  <c:v>60.01</c:v>
                </c:pt>
                <c:pt idx="4453">
                  <c:v>59.89</c:v>
                </c:pt>
                <c:pt idx="4454">
                  <c:v>60.41</c:v>
                </c:pt>
                <c:pt idx="4455">
                  <c:v>59.62</c:v>
                </c:pt>
                <c:pt idx="4456">
                  <c:v>60.01</c:v>
                </c:pt>
                <c:pt idx="4457">
                  <c:v>61.05</c:v>
                </c:pt>
                <c:pt idx="4458">
                  <c:v>60.01</c:v>
                </c:pt>
                <c:pt idx="4459">
                  <c:v>59.59</c:v>
                </c:pt>
                <c:pt idx="4460">
                  <c:v>59.41</c:v>
                </c:pt>
                <c:pt idx="4461">
                  <c:v>58.34</c:v>
                </c:pt>
                <c:pt idx="4462">
                  <c:v>59.48</c:v>
                </c:pt>
                <c:pt idx="4463">
                  <c:v>56.94</c:v>
                </c:pt>
                <c:pt idx="4464">
                  <c:v>56.93</c:v>
                </c:pt>
                <c:pt idx="4466">
                  <c:v>52.48</c:v>
                </c:pt>
                <c:pt idx="4467">
                  <c:v>52.33</c:v>
                </c:pt>
                <c:pt idx="4468">
                  <c:v>51.61</c:v>
                </c:pt>
                <c:pt idx="4469">
                  <c:v>52.76</c:v>
                </c:pt>
                <c:pt idx="4470">
                  <c:v>52.74</c:v>
                </c:pt>
                <c:pt idx="4471">
                  <c:v>52.19</c:v>
                </c:pt>
                <c:pt idx="4472">
                  <c:v>53.05</c:v>
                </c:pt>
                <c:pt idx="4473">
                  <c:v>51.4</c:v>
                </c:pt>
                <c:pt idx="4474">
                  <c:v>50.9</c:v>
                </c:pt>
                <c:pt idx="4475">
                  <c:v>50.88</c:v>
                </c:pt>
                <c:pt idx="4476">
                  <c:v>50.11</c:v>
                </c:pt>
                <c:pt idx="4477">
                  <c:v>50.59</c:v>
                </c:pt>
                <c:pt idx="4478">
                  <c:v>49.27</c:v>
                </c:pt>
                <c:pt idx="4479">
                  <c:v>48.11</c:v>
                </c:pt>
                <c:pt idx="4480">
                  <c:v>47.98</c:v>
                </c:pt>
                <c:pt idx="4481">
                  <c:v>47.17</c:v>
                </c:pt>
                <c:pt idx="4482">
                  <c:v>47.97</c:v>
                </c:pt>
                <c:pt idx="4483">
                  <c:v>48.77</c:v>
                </c:pt>
                <c:pt idx="4484">
                  <c:v>48.53</c:v>
                </c:pt>
                <c:pt idx="4485">
                  <c:v>47.11</c:v>
                </c:pt>
                <c:pt idx="4486">
                  <c:v>45.25</c:v>
                </c:pt>
                <c:pt idx="4487">
                  <c:v>45.75</c:v>
                </c:pt>
                <c:pt idx="4488">
                  <c:v>45.13</c:v>
                </c:pt>
                <c:pt idx="4489">
                  <c:v>44.69</c:v>
                </c:pt>
                <c:pt idx="4490">
                  <c:v>43.87</c:v>
                </c:pt>
                <c:pt idx="4491">
                  <c:v>44.94</c:v>
                </c:pt>
                <c:pt idx="4492">
                  <c:v>43.11</c:v>
                </c:pt>
                <c:pt idx="4493">
                  <c:v>43.22</c:v>
                </c:pt>
                <c:pt idx="4494">
                  <c:v>42.27</c:v>
                </c:pt>
                <c:pt idx="4495">
                  <c:v>42.45</c:v>
                </c:pt>
                <c:pt idx="4496">
                  <c:v>41.93</c:v>
                </c:pt>
                <c:pt idx="4497">
                  <c:v>42.58</c:v>
                </c:pt>
                <c:pt idx="4498">
                  <c:v>40.75</c:v>
                </c:pt>
                <c:pt idx="4499">
                  <c:v>41</c:v>
                </c:pt>
                <c:pt idx="4500">
                  <c:v>40.450000000000003</c:v>
                </c:pt>
                <c:pt idx="4501">
                  <c:v>38.22</c:v>
                </c:pt>
                <c:pt idx="4502">
                  <c:v>39.15</c:v>
                </c:pt>
                <c:pt idx="4503">
                  <c:v>38.5</c:v>
                </c:pt>
                <c:pt idx="4504">
                  <c:v>42.47</c:v>
                </c:pt>
                <c:pt idx="4505">
                  <c:v>45.29</c:v>
                </c:pt>
                <c:pt idx="4506">
                  <c:v>49.2</c:v>
                </c:pt>
                <c:pt idx="4507">
                  <c:v>45.38</c:v>
                </c:pt>
                <c:pt idx="4508">
                  <c:v>46.3</c:v>
                </c:pt>
                <c:pt idx="4509">
                  <c:v>46.75</c:v>
                </c:pt>
                <c:pt idx="4510">
                  <c:v>46.02</c:v>
                </c:pt>
                <c:pt idx="4512">
                  <c:v>45.92</c:v>
                </c:pt>
                <c:pt idx="4513">
                  <c:v>44.13</c:v>
                </c:pt>
                <c:pt idx="4514">
                  <c:v>45.85</c:v>
                </c:pt>
                <c:pt idx="4515">
                  <c:v>44.75</c:v>
                </c:pt>
                <c:pt idx="4516">
                  <c:v>44.07</c:v>
                </c:pt>
                <c:pt idx="4517">
                  <c:v>44.58</c:v>
                </c:pt>
                <c:pt idx="4518">
                  <c:v>47.12</c:v>
                </c:pt>
                <c:pt idx="4519">
                  <c:v>46.93</c:v>
                </c:pt>
                <c:pt idx="4520">
                  <c:v>44.71</c:v>
                </c:pt>
                <c:pt idx="4521">
                  <c:v>46.67</c:v>
                </c:pt>
                <c:pt idx="4522">
                  <c:v>46.17</c:v>
                </c:pt>
                <c:pt idx="4523">
                  <c:v>44.53</c:v>
                </c:pt>
                <c:pt idx="4524">
                  <c:v>44.94</c:v>
                </c:pt>
                <c:pt idx="4525">
                  <c:v>45.55</c:v>
                </c:pt>
                <c:pt idx="4526">
                  <c:v>44.4</c:v>
                </c:pt>
                <c:pt idx="4527">
                  <c:v>45.24</c:v>
                </c:pt>
                <c:pt idx="4528">
                  <c:v>45.06</c:v>
                </c:pt>
                <c:pt idx="4529">
                  <c:v>44.75</c:v>
                </c:pt>
                <c:pt idx="4530">
                  <c:v>45.54</c:v>
                </c:pt>
                <c:pt idx="4531">
                  <c:v>46.28</c:v>
                </c:pt>
                <c:pt idx="4532">
                  <c:v>48.53</c:v>
                </c:pt>
                <c:pt idx="4533">
                  <c:v>47.86</c:v>
                </c:pt>
                <c:pt idx="4534">
                  <c:v>49.46</c:v>
                </c:pt>
                <c:pt idx="4535">
                  <c:v>49.67</c:v>
                </c:pt>
                <c:pt idx="4536">
                  <c:v>47.09</c:v>
                </c:pt>
                <c:pt idx="4537">
                  <c:v>46.7</c:v>
                </c:pt>
                <c:pt idx="4538">
                  <c:v>46.63</c:v>
                </c:pt>
                <c:pt idx="4539">
                  <c:v>46.38</c:v>
                </c:pt>
                <c:pt idx="4540">
                  <c:v>47.3</c:v>
                </c:pt>
                <c:pt idx="4541">
                  <c:v>45.91</c:v>
                </c:pt>
                <c:pt idx="4542">
                  <c:v>45.84</c:v>
                </c:pt>
                <c:pt idx="4543">
                  <c:v>45.22</c:v>
                </c:pt>
                <c:pt idx="4544">
                  <c:v>44.9</c:v>
                </c:pt>
                <c:pt idx="4545">
                  <c:v>43.91</c:v>
                </c:pt>
                <c:pt idx="4546">
                  <c:v>43.19</c:v>
                </c:pt>
                <c:pt idx="4547">
                  <c:v>43.21</c:v>
                </c:pt>
                <c:pt idx="4548">
                  <c:v>45.93</c:v>
                </c:pt>
                <c:pt idx="4549">
                  <c:v>46.02</c:v>
                </c:pt>
                <c:pt idx="4550">
                  <c:v>46.6</c:v>
                </c:pt>
                <c:pt idx="4551">
                  <c:v>46.12</c:v>
                </c:pt>
                <c:pt idx="4552">
                  <c:v>47.88</c:v>
                </c:pt>
                <c:pt idx="4553">
                  <c:v>46.32</c:v>
                </c:pt>
                <c:pt idx="4554">
                  <c:v>45.27</c:v>
                </c:pt>
                <c:pt idx="4555">
                  <c:v>44.32</c:v>
                </c:pt>
                <c:pt idx="4556">
                  <c:v>43.87</c:v>
                </c:pt>
                <c:pt idx="4557">
                  <c:v>44.23</c:v>
                </c:pt>
                <c:pt idx="4558">
                  <c:v>42.95</c:v>
                </c:pt>
                <c:pt idx="4559">
                  <c:v>41.74</c:v>
                </c:pt>
                <c:pt idx="4560">
                  <c:v>40.69</c:v>
                </c:pt>
                <c:pt idx="4561">
                  <c:v>41.68</c:v>
                </c:pt>
                <c:pt idx="4562">
                  <c:v>40.729999999999997</c:v>
                </c:pt>
                <c:pt idx="4563">
                  <c:v>40.75</c:v>
                </c:pt>
                <c:pt idx="4564">
                  <c:v>40.549999999999997</c:v>
                </c:pt>
                <c:pt idx="4565">
                  <c:v>39.39</c:v>
                </c:pt>
                <c:pt idx="4566">
                  <c:v>39.270000000000003</c:v>
                </c:pt>
                <c:pt idx="4567">
                  <c:v>40.89</c:v>
                </c:pt>
                <c:pt idx="4568">
                  <c:v>41.22</c:v>
                </c:pt>
                <c:pt idx="4570">
                  <c:v>40.57</c:v>
                </c:pt>
                <c:pt idx="4571">
                  <c:v>40.43</c:v>
                </c:pt>
                <c:pt idx="4572">
                  <c:v>40.58</c:v>
                </c:pt>
                <c:pt idx="4573">
                  <c:v>39.93</c:v>
                </c:pt>
                <c:pt idx="4574">
                  <c:v>41.08</c:v>
                </c:pt>
                <c:pt idx="4575">
                  <c:v>40</c:v>
                </c:pt>
                <c:pt idx="4576">
                  <c:v>37.64</c:v>
                </c:pt>
                <c:pt idx="4577">
                  <c:v>37.46</c:v>
                </c:pt>
                <c:pt idx="4578">
                  <c:v>37.159999999999997</c:v>
                </c:pt>
                <c:pt idx="4579">
                  <c:v>36.76</c:v>
                </c:pt>
                <c:pt idx="4580">
                  <c:v>35.65</c:v>
                </c:pt>
                <c:pt idx="4581">
                  <c:v>36.31</c:v>
                </c:pt>
                <c:pt idx="4582">
                  <c:v>37.32</c:v>
                </c:pt>
                <c:pt idx="4583">
                  <c:v>35.549999999999997</c:v>
                </c:pt>
                <c:pt idx="4584">
                  <c:v>34.979999999999997</c:v>
                </c:pt>
                <c:pt idx="4585">
                  <c:v>34.72</c:v>
                </c:pt>
                <c:pt idx="4586">
                  <c:v>34.549999999999997</c:v>
                </c:pt>
                <c:pt idx="4587">
                  <c:v>36.119999999999997</c:v>
                </c:pt>
                <c:pt idx="4588">
                  <c:v>36.76</c:v>
                </c:pt>
                <c:pt idx="4589">
                  <c:v>37.619999999999997</c:v>
                </c:pt>
                <c:pt idx="4590">
                  <c:v>36.36</c:v>
                </c:pt>
                <c:pt idx="4591">
                  <c:v>37.880000000000003</c:v>
                </c:pt>
                <c:pt idx="4592">
                  <c:v>36.590000000000003</c:v>
                </c:pt>
                <c:pt idx="4593">
                  <c:v>37.130000000000003</c:v>
                </c:pt>
                <c:pt idx="4594">
                  <c:v>36.81</c:v>
                </c:pt>
                <c:pt idx="4595">
                  <c:v>35.97</c:v>
                </c:pt>
                <c:pt idx="4596">
                  <c:v>33.97</c:v>
                </c:pt>
                <c:pt idx="4597">
                  <c:v>33.29</c:v>
                </c:pt>
                <c:pt idx="4598">
                  <c:v>33.200000000000003</c:v>
                </c:pt>
                <c:pt idx="4599">
                  <c:v>31.42</c:v>
                </c:pt>
                <c:pt idx="4600">
                  <c:v>30.42</c:v>
                </c:pt>
                <c:pt idx="4601">
                  <c:v>30.42</c:v>
                </c:pt>
                <c:pt idx="4602">
                  <c:v>31.22</c:v>
                </c:pt>
                <c:pt idx="4603">
                  <c:v>29.45</c:v>
                </c:pt>
                <c:pt idx="4605">
                  <c:v>28.47</c:v>
                </c:pt>
                <c:pt idx="4606">
                  <c:v>26.68</c:v>
                </c:pt>
                <c:pt idx="4607">
                  <c:v>29.55</c:v>
                </c:pt>
                <c:pt idx="4608">
                  <c:v>32.07</c:v>
                </c:pt>
                <c:pt idx="4609">
                  <c:v>30.31</c:v>
                </c:pt>
                <c:pt idx="4610">
                  <c:v>29.54</c:v>
                </c:pt>
                <c:pt idx="4611">
                  <c:v>32.32</c:v>
                </c:pt>
                <c:pt idx="4612">
                  <c:v>33.21</c:v>
                </c:pt>
                <c:pt idx="4613">
                  <c:v>33.659999999999997</c:v>
                </c:pt>
                <c:pt idx="4614">
                  <c:v>31.62</c:v>
                </c:pt>
                <c:pt idx="4615">
                  <c:v>29.9</c:v>
                </c:pt>
                <c:pt idx="4616">
                  <c:v>32.29</c:v>
                </c:pt>
                <c:pt idx="4617">
                  <c:v>31.63</c:v>
                </c:pt>
                <c:pt idx="4618">
                  <c:v>30.86</c:v>
                </c:pt>
                <c:pt idx="4619">
                  <c:v>29.71</c:v>
                </c:pt>
                <c:pt idx="4620">
                  <c:v>27.96</c:v>
                </c:pt>
                <c:pt idx="4621">
                  <c:v>27.54</c:v>
                </c:pt>
                <c:pt idx="4622">
                  <c:v>26.19</c:v>
                </c:pt>
                <c:pt idx="4623">
                  <c:v>29.32</c:v>
                </c:pt>
                <c:pt idx="4624">
                  <c:v>29.05</c:v>
                </c:pt>
                <c:pt idx="4625">
                  <c:v>30.68</c:v>
                </c:pt>
                <c:pt idx="4626">
                  <c:v>30.77</c:v>
                </c:pt>
                <c:pt idx="4627">
                  <c:v>29.59</c:v>
                </c:pt>
                <c:pt idx="4628">
                  <c:v>31.37</c:v>
                </c:pt>
                <c:pt idx="4629">
                  <c:v>31.84</c:v>
                </c:pt>
                <c:pt idx="4630">
                  <c:v>30.35</c:v>
                </c:pt>
                <c:pt idx="4631">
                  <c:v>31.4</c:v>
                </c:pt>
                <c:pt idx="4632">
                  <c:v>31.65</c:v>
                </c:pt>
                <c:pt idx="4633">
                  <c:v>32.74</c:v>
                </c:pt>
                <c:pt idx="4634">
                  <c:v>34.39</c:v>
                </c:pt>
                <c:pt idx="4635">
                  <c:v>34.57</c:v>
                </c:pt>
                <c:pt idx="4636">
                  <c:v>34.56</c:v>
                </c:pt>
                <c:pt idx="4637">
                  <c:v>35.909999999999997</c:v>
                </c:pt>
                <c:pt idx="4638">
                  <c:v>37.9</c:v>
                </c:pt>
                <c:pt idx="4639">
                  <c:v>36.67</c:v>
                </c:pt>
                <c:pt idx="4640">
                  <c:v>37.619999999999997</c:v>
                </c:pt>
                <c:pt idx="4641">
                  <c:v>37.770000000000003</c:v>
                </c:pt>
                <c:pt idx="4642">
                  <c:v>38.51</c:v>
                </c:pt>
                <c:pt idx="4643">
                  <c:v>37.200000000000003</c:v>
                </c:pt>
                <c:pt idx="4644">
                  <c:v>36.32</c:v>
                </c:pt>
                <c:pt idx="4645">
                  <c:v>38.43</c:v>
                </c:pt>
                <c:pt idx="4646">
                  <c:v>40.17</c:v>
                </c:pt>
                <c:pt idx="4647">
                  <c:v>39.47</c:v>
                </c:pt>
                <c:pt idx="4648">
                  <c:v>39.909999999999997</c:v>
                </c:pt>
                <c:pt idx="4649">
                  <c:v>41.45</c:v>
                </c:pt>
                <c:pt idx="4650">
                  <c:v>38.28</c:v>
                </c:pt>
                <c:pt idx="4651">
                  <c:v>38.14</c:v>
                </c:pt>
                <c:pt idx="4652">
                  <c:v>37.99</c:v>
                </c:pt>
                <c:pt idx="4653">
                  <c:v>36.909999999999997</c:v>
                </c:pt>
                <c:pt idx="4654">
                  <c:v>36.909999999999997</c:v>
                </c:pt>
                <c:pt idx="4655">
                  <c:v>36.94</c:v>
                </c:pt>
                <c:pt idx="4656">
                  <c:v>35.36</c:v>
                </c:pt>
                <c:pt idx="4657">
                  <c:v>34.299999999999997</c:v>
                </c:pt>
                <c:pt idx="4658">
                  <c:v>34.520000000000003</c:v>
                </c:pt>
                <c:pt idx="4659">
                  <c:v>37.74</c:v>
                </c:pt>
                <c:pt idx="4660">
                  <c:v>37.299999999999997</c:v>
                </c:pt>
                <c:pt idx="4661">
                  <c:v>39.74</c:v>
                </c:pt>
                <c:pt idx="4662">
                  <c:v>40.46</c:v>
                </c:pt>
                <c:pt idx="4663">
                  <c:v>42.12</c:v>
                </c:pt>
                <c:pt idx="4664">
                  <c:v>41.7</c:v>
                </c:pt>
                <c:pt idx="4665">
                  <c:v>41.45</c:v>
                </c:pt>
                <c:pt idx="4666">
                  <c:v>40.4</c:v>
                </c:pt>
                <c:pt idx="4667">
                  <c:v>39.74</c:v>
                </c:pt>
                <c:pt idx="4668">
                  <c:v>40.880000000000003</c:v>
                </c:pt>
                <c:pt idx="4669">
                  <c:v>42.72</c:v>
                </c:pt>
                <c:pt idx="4670">
                  <c:v>43.18</c:v>
                </c:pt>
                <c:pt idx="4671">
                  <c:v>42.76</c:v>
                </c:pt>
                <c:pt idx="4672">
                  <c:v>41.67</c:v>
                </c:pt>
                <c:pt idx="4673">
                  <c:v>42.52</c:v>
                </c:pt>
                <c:pt idx="4674">
                  <c:v>45.29</c:v>
                </c:pt>
                <c:pt idx="4675">
                  <c:v>46.03</c:v>
                </c:pt>
                <c:pt idx="4676">
                  <c:v>45.98</c:v>
                </c:pt>
                <c:pt idx="4677">
                  <c:v>44.75</c:v>
                </c:pt>
                <c:pt idx="4678">
                  <c:v>43.65</c:v>
                </c:pt>
                <c:pt idx="4679">
                  <c:v>43.77</c:v>
                </c:pt>
                <c:pt idx="4680">
                  <c:v>44.33</c:v>
                </c:pt>
                <c:pt idx="4681">
                  <c:v>44.58</c:v>
                </c:pt>
                <c:pt idx="4682">
                  <c:v>43.45</c:v>
                </c:pt>
                <c:pt idx="4683">
                  <c:v>44.68</c:v>
                </c:pt>
                <c:pt idx="4684">
                  <c:v>46.21</c:v>
                </c:pt>
                <c:pt idx="4685">
                  <c:v>46.64</c:v>
                </c:pt>
                <c:pt idx="4686">
                  <c:v>46.22</c:v>
                </c:pt>
                <c:pt idx="4687">
                  <c:v>47.72</c:v>
                </c:pt>
                <c:pt idx="4688">
                  <c:v>48.29</c:v>
                </c:pt>
                <c:pt idx="4689">
                  <c:v>48.12</c:v>
                </c:pt>
                <c:pt idx="4690">
                  <c:v>48.16</c:v>
                </c:pt>
                <c:pt idx="4691">
                  <c:v>47.67</c:v>
                </c:pt>
                <c:pt idx="4692">
                  <c:v>48.12</c:v>
                </c:pt>
                <c:pt idx="4693">
                  <c:v>48.04</c:v>
                </c:pt>
                <c:pt idx="4694">
                  <c:v>49.1</c:v>
                </c:pt>
                <c:pt idx="4695">
                  <c:v>49</c:v>
                </c:pt>
                <c:pt idx="4696">
                  <c:v>49.36</c:v>
                </c:pt>
                <c:pt idx="4697">
                  <c:v>49.1</c:v>
                </c:pt>
                <c:pt idx="4698">
                  <c:v>49.07</c:v>
                </c:pt>
                <c:pt idx="4699">
                  <c:v>49.14</c:v>
                </c:pt>
                <c:pt idx="4700">
                  <c:v>48.69</c:v>
                </c:pt>
                <c:pt idx="4701">
                  <c:v>49.71</c:v>
                </c:pt>
                <c:pt idx="4702">
                  <c:v>50.37</c:v>
                </c:pt>
                <c:pt idx="4703">
                  <c:v>51.23</c:v>
                </c:pt>
                <c:pt idx="4704">
                  <c:v>50.52</c:v>
                </c:pt>
                <c:pt idx="4705">
                  <c:v>49.09</c:v>
                </c:pt>
                <c:pt idx="4706">
                  <c:v>48.89</c:v>
                </c:pt>
                <c:pt idx="4707">
                  <c:v>48.49</c:v>
                </c:pt>
                <c:pt idx="4708">
                  <c:v>47.92</c:v>
                </c:pt>
                <c:pt idx="4709">
                  <c:v>46.14</c:v>
                </c:pt>
                <c:pt idx="4710">
                  <c:v>48</c:v>
                </c:pt>
                <c:pt idx="4711">
                  <c:v>49.4</c:v>
                </c:pt>
                <c:pt idx="4712">
                  <c:v>48.95</c:v>
                </c:pt>
                <c:pt idx="4713">
                  <c:v>49.16</c:v>
                </c:pt>
                <c:pt idx="4714">
                  <c:v>49.34</c:v>
                </c:pt>
                <c:pt idx="4715">
                  <c:v>46.7</c:v>
                </c:pt>
                <c:pt idx="4716">
                  <c:v>45.8</c:v>
                </c:pt>
                <c:pt idx="4717">
                  <c:v>47.93</c:v>
                </c:pt>
                <c:pt idx="4718">
                  <c:v>49.85</c:v>
                </c:pt>
                <c:pt idx="4719">
                  <c:v>48.27</c:v>
                </c:pt>
                <c:pt idx="4720">
                  <c:v>49.02</c:v>
                </c:pt>
                <c:pt idx="4722">
                  <c:v>46.73</c:v>
                </c:pt>
                <c:pt idx="4723">
                  <c:v>47.37</c:v>
                </c:pt>
                <c:pt idx="4724">
                  <c:v>45.22</c:v>
                </c:pt>
                <c:pt idx="4725">
                  <c:v>45.37</c:v>
                </c:pt>
                <c:pt idx="4726">
                  <c:v>44.73</c:v>
                </c:pt>
                <c:pt idx="4727">
                  <c:v>46.82</c:v>
                </c:pt>
                <c:pt idx="4728">
                  <c:v>44.87</c:v>
                </c:pt>
                <c:pt idx="4729">
                  <c:v>45.64</c:v>
                </c:pt>
                <c:pt idx="4730">
                  <c:v>45.93</c:v>
                </c:pt>
                <c:pt idx="4731">
                  <c:v>45.23</c:v>
                </c:pt>
                <c:pt idx="4732">
                  <c:v>44.64</c:v>
                </c:pt>
                <c:pt idx="4733">
                  <c:v>44.96</c:v>
                </c:pt>
                <c:pt idx="4734">
                  <c:v>43.96</c:v>
                </c:pt>
                <c:pt idx="4735">
                  <c:v>43.41</c:v>
                </c:pt>
                <c:pt idx="4736">
                  <c:v>42.4</c:v>
                </c:pt>
                <c:pt idx="4737">
                  <c:v>42.16</c:v>
                </c:pt>
                <c:pt idx="4738">
                  <c:v>41.9</c:v>
                </c:pt>
                <c:pt idx="4739">
                  <c:v>41.13</c:v>
                </c:pt>
                <c:pt idx="4740">
                  <c:v>41.54</c:v>
                </c:pt>
                <c:pt idx="4741">
                  <c:v>40.049999999999997</c:v>
                </c:pt>
                <c:pt idx="4742">
                  <c:v>39.5</c:v>
                </c:pt>
                <c:pt idx="4743">
                  <c:v>40.799999999999997</c:v>
                </c:pt>
                <c:pt idx="4744">
                  <c:v>41.92</c:v>
                </c:pt>
                <c:pt idx="4745">
                  <c:v>41.83</c:v>
                </c:pt>
                <c:pt idx="4746">
                  <c:v>43.06</c:v>
                </c:pt>
                <c:pt idx="4747">
                  <c:v>42.78</c:v>
                </c:pt>
                <c:pt idx="4748">
                  <c:v>41.75</c:v>
                </c:pt>
                <c:pt idx="4749">
                  <c:v>43.51</c:v>
                </c:pt>
                <c:pt idx="4750">
                  <c:v>44.47</c:v>
                </c:pt>
                <c:pt idx="4751">
                  <c:v>45.72</c:v>
                </c:pt>
                <c:pt idx="4752">
                  <c:v>46.57</c:v>
                </c:pt>
                <c:pt idx="4753">
                  <c:v>46.81</c:v>
                </c:pt>
                <c:pt idx="4754">
                  <c:v>48.2</c:v>
                </c:pt>
                <c:pt idx="4755">
                  <c:v>48.48</c:v>
                </c:pt>
                <c:pt idx="4756">
                  <c:v>46.8</c:v>
                </c:pt>
                <c:pt idx="4757">
                  <c:v>47.54</c:v>
                </c:pt>
                <c:pt idx="4758">
                  <c:v>46.29</c:v>
                </c:pt>
                <c:pt idx="4759">
                  <c:v>46.97</c:v>
                </c:pt>
                <c:pt idx="4760">
                  <c:v>47.64</c:v>
                </c:pt>
                <c:pt idx="4761">
                  <c:v>46.97</c:v>
                </c:pt>
                <c:pt idx="4762">
                  <c:v>46.32</c:v>
                </c:pt>
                <c:pt idx="4763">
                  <c:v>44.68</c:v>
                </c:pt>
                <c:pt idx="4764">
                  <c:v>43.17</c:v>
                </c:pt>
                <c:pt idx="4765">
                  <c:v>44.39</c:v>
                </c:pt>
                <c:pt idx="4767">
                  <c:v>44.85</c:v>
                </c:pt>
                <c:pt idx="4768">
                  <c:v>45.47</c:v>
                </c:pt>
                <c:pt idx="4769">
                  <c:v>47.63</c:v>
                </c:pt>
                <c:pt idx="4770">
                  <c:v>45.88</c:v>
                </c:pt>
                <c:pt idx="4771">
                  <c:v>46.28</c:v>
                </c:pt>
                <c:pt idx="4772">
                  <c:v>44.91</c:v>
                </c:pt>
                <c:pt idx="4773">
                  <c:v>43.62</c:v>
                </c:pt>
                <c:pt idx="4774">
                  <c:v>43.85</c:v>
                </c:pt>
                <c:pt idx="4775">
                  <c:v>43.04</c:v>
                </c:pt>
                <c:pt idx="4776">
                  <c:v>43.34</c:v>
                </c:pt>
                <c:pt idx="4777">
                  <c:v>43.85</c:v>
                </c:pt>
                <c:pt idx="4778">
                  <c:v>45.33</c:v>
                </c:pt>
                <c:pt idx="4779">
                  <c:v>46.1</c:v>
                </c:pt>
                <c:pt idx="4780">
                  <c:v>44.36</c:v>
                </c:pt>
                <c:pt idx="4781">
                  <c:v>45.6</c:v>
                </c:pt>
              </c:numCache>
            </c:numRef>
          </c:val>
          <c:smooth val="0"/>
        </c:ser>
        <c:ser>
          <c:idx val="1"/>
          <c:order val="1"/>
          <c:tx>
            <c:v>Brent</c:v>
          </c:tx>
          <c:marker>
            <c:symbol val="none"/>
          </c:marker>
          <c:cat>
            <c:numRef>
              <c:f>'[PET_PRI_SPT_S1_D.xls]Data 1'!$E$3082:$E$7863</c:f>
              <c:numCache>
                <c:formatCode>mmm\ dd\,\ yyyy</c:formatCode>
                <c:ptCount val="4782"/>
                <c:pt idx="0">
                  <c:v>35797</c:v>
                </c:pt>
                <c:pt idx="1">
                  <c:v>35800</c:v>
                </c:pt>
                <c:pt idx="2">
                  <c:v>35801</c:v>
                </c:pt>
                <c:pt idx="3">
                  <c:v>35802</c:v>
                </c:pt>
                <c:pt idx="4">
                  <c:v>35803</c:v>
                </c:pt>
                <c:pt idx="5">
                  <c:v>35804</c:v>
                </c:pt>
                <c:pt idx="6">
                  <c:v>35807</c:v>
                </c:pt>
                <c:pt idx="7">
                  <c:v>35808</c:v>
                </c:pt>
                <c:pt idx="8">
                  <c:v>35809</c:v>
                </c:pt>
                <c:pt idx="9">
                  <c:v>35810</c:v>
                </c:pt>
                <c:pt idx="10">
                  <c:v>35811</c:v>
                </c:pt>
                <c:pt idx="11">
                  <c:v>35814</c:v>
                </c:pt>
                <c:pt idx="12">
                  <c:v>35815</c:v>
                </c:pt>
                <c:pt idx="13">
                  <c:v>35816</c:v>
                </c:pt>
                <c:pt idx="14">
                  <c:v>35817</c:v>
                </c:pt>
                <c:pt idx="15">
                  <c:v>35818</c:v>
                </c:pt>
                <c:pt idx="16">
                  <c:v>35821</c:v>
                </c:pt>
                <c:pt idx="17">
                  <c:v>35822</c:v>
                </c:pt>
                <c:pt idx="18">
                  <c:v>35823</c:v>
                </c:pt>
                <c:pt idx="19">
                  <c:v>35824</c:v>
                </c:pt>
                <c:pt idx="20">
                  <c:v>35825</c:v>
                </c:pt>
                <c:pt idx="21">
                  <c:v>35828</c:v>
                </c:pt>
                <c:pt idx="22">
                  <c:v>35829</c:v>
                </c:pt>
                <c:pt idx="23">
                  <c:v>35830</c:v>
                </c:pt>
                <c:pt idx="24">
                  <c:v>35831</c:v>
                </c:pt>
                <c:pt idx="25">
                  <c:v>35832</c:v>
                </c:pt>
                <c:pt idx="26">
                  <c:v>35835</c:v>
                </c:pt>
                <c:pt idx="27">
                  <c:v>35836</c:v>
                </c:pt>
                <c:pt idx="28">
                  <c:v>35837</c:v>
                </c:pt>
                <c:pt idx="29">
                  <c:v>35838</c:v>
                </c:pt>
                <c:pt idx="30">
                  <c:v>35839</c:v>
                </c:pt>
                <c:pt idx="31">
                  <c:v>35842</c:v>
                </c:pt>
                <c:pt idx="32">
                  <c:v>35843</c:v>
                </c:pt>
                <c:pt idx="33">
                  <c:v>35844</c:v>
                </c:pt>
                <c:pt idx="34">
                  <c:v>35845</c:v>
                </c:pt>
                <c:pt idx="35">
                  <c:v>35846</c:v>
                </c:pt>
                <c:pt idx="36">
                  <c:v>35849</c:v>
                </c:pt>
                <c:pt idx="37">
                  <c:v>35850</c:v>
                </c:pt>
                <c:pt idx="38">
                  <c:v>35851</c:v>
                </c:pt>
                <c:pt idx="39">
                  <c:v>35852</c:v>
                </c:pt>
                <c:pt idx="40">
                  <c:v>35853</c:v>
                </c:pt>
                <c:pt idx="41">
                  <c:v>35856</c:v>
                </c:pt>
                <c:pt idx="42">
                  <c:v>35857</c:v>
                </c:pt>
                <c:pt idx="43">
                  <c:v>35858</c:v>
                </c:pt>
                <c:pt idx="44">
                  <c:v>35859</c:v>
                </c:pt>
                <c:pt idx="45">
                  <c:v>35860</c:v>
                </c:pt>
                <c:pt idx="46">
                  <c:v>35863</c:v>
                </c:pt>
                <c:pt idx="47">
                  <c:v>35864</c:v>
                </c:pt>
                <c:pt idx="48">
                  <c:v>35865</c:v>
                </c:pt>
                <c:pt idx="49">
                  <c:v>35866</c:v>
                </c:pt>
                <c:pt idx="50">
                  <c:v>35867</c:v>
                </c:pt>
                <c:pt idx="51">
                  <c:v>35870</c:v>
                </c:pt>
                <c:pt idx="52">
                  <c:v>35871</c:v>
                </c:pt>
                <c:pt idx="53">
                  <c:v>35872</c:v>
                </c:pt>
                <c:pt idx="54">
                  <c:v>35873</c:v>
                </c:pt>
                <c:pt idx="55">
                  <c:v>35874</c:v>
                </c:pt>
                <c:pt idx="56">
                  <c:v>35877</c:v>
                </c:pt>
                <c:pt idx="57">
                  <c:v>35878</c:v>
                </c:pt>
                <c:pt idx="58">
                  <c:v>35879</c:v>
                </c:pt>
                <c:pt idx="59">
                  <c:v>35880</c:v>
                </c:pt>
                <c:pt idx="60">
                  <c:v>35881</c:v>
                </c:pt>
                <c:pt idx="61">
                  <c:v>35884</c:v>
                </c:pt>
                <c:pt idx="62">
                  <c:v>35885</c:v>
                </c:pt>
                <c:pt idx="63">
                  <c:v>35886</c:v>
                </c:pt>
                <c:pt idx="64">
                  <c:v>35887</c:v>
                </c:pt>
                <c:pt idx="65">
                  <c:v>35888</c:v>
                </c:pt>
                <c:pt idx="66">
                  <c:v>35891</c:v>
                </c:pt>
                <c:pt idx="67">
                  <c:v>35892</c:v>
                </c:pt>
                <c:pt idx="68">
                  <c:v>35893</c:v>
                </c:pt>
                <c:pt idx="69">
                  <c:v>35894</c:v>
                </c:pt>
                <c:pt idx="70">
                  <c:v>35898</c:v>
                </c:pt>
                <c:pt idx="71">
                  <c:v>35899</c:v>
                </c:pt>
                <c:pt idx="72">
                  <c:v>35900</c:v>
                </c:pt>
                <c:pt idx="73">
                  <c:v>35901</c:v>
                </c:pt>
                <c:pt idx="74">
                  <c:v>35902</c:v>
                </c:pt>
                <c:pt idx="75">
                  <c:v>35905</c:v>
                </c:pt>
                <c:pt idx="76">
                  <c:v>35906</c:v>
                </c:pt>
                <c:pt idx="77">
                  <c:v>35907</c:v>
                </c:pt>
                <c:pt idx="78">
                  <c:v>35908</c:v>
                </c:pt>
                <c:pt idx="79">
                  <c:v>35909</c:v>
                </c:pt>
                <c:pt idx="80">
                  <c:v>35912</c:v>
                </c:pt>
                <c:pt idx="81">
                  <c:v>35913</c:v>
                </c:pt>
                <c:pt idx="82">
                  <c:v>35914</c:v>
                </c:pt>
                <c:pt idx="83">
                  <c:v>35915</c:v>
                </c:pt>
                <c:pt idx="84">
                  <c:v>35916</c:v>
                </c:pt>
                <c:pt idx="85">
                  <c:v>35919</c:v>
                </c:pt>
                <c:pt idx="86">
                  <c:v>35920</c:v>
                </c:pt>
                <c:pt idx="87">
                  <c:v>35921</c:v>
                </c:pt>
                <c:pt idx="88">
                  <c:v>35922</c:v>
                </c:pt>
                <c:pt idx="89">
                  <c:v>35923</c:v>
                </c:pt>
                <c:pt idx="90">
                  <c:v>35926</c:v>
                </c:pt>
                <c:pt idx="91">
                  <c:v>35927</c:v>
                </c:pt>
                <c:pt idx="92">
                  <c:v>35928</c:v>
                </c:pt>
                <c:pt idx="93">
                  <c:v>35929</c:v>
                </c:pt>
                <c:pt idx="94">
                  <c:v>35930</c:v>
                </c:pt>
                <c:pt idx="95">
                  <c:v>35933</c:v>
                </c:pt>
                <c:pt idx="96">
                  <c:v>35934</c:v>
                </c:pt>
                <c:pt idx="97">
                  <c:v>35935</c:v>
                </c:pt>
                <c:pt idx="98">
                  <c:v>35936</c:v>
                </c:pt>
                <c:pt idx="99">
                  <c:v>35937</c:v>
                </c:pt>
                <c:pt idx="100">
                  <c:v>35941</c:v>
                </c:pt>
                <c:pt idx="101">
                  <c:v>35942</c:v>
                </c:pt>
                <c:pt idx="102">
                  <c:v>35943</c:v>
                </c:pt>
                <c:pt idx="103">
                  <c:v>35944</c:v>
                </c:pt>
                <c:pt idx="104">
                  <c:v>35947</c:v>
                </c:pt>
                <c:pt idx="105">
                  <c:v>35948</c:v>
                </c:pt>
                <c:pt idx="106">
                  <c:v>35949</c:v>
                </c:pt>
                <c:pt idx="107">
                  <c:v>35950</c:v>
                </c:pt>
                <c:pt idx="108">
                  <c:v>35951</c:v>
                </c:pt>
                <c:pt idx="109">
                  <c:v>35954</c:v>
                </c:pt>
                <c:pt idx="110">
                  <c:v>35955</c:v>
                </c:pt>
                <c:pt idx="111">
                  <c:v>35956</c:v>
                </c:pt>
                <c:pt idx="112">
                  <c:v>35957</c:v>
                </c:pt>
                <c:pt idx="113">
                  <c:v>35958</c:v>
                </c:pt>
                <c:pt idx="114">
                  <c:v>35961</c:v>
                </c:pt>
                <c:pt idx="115">
                  <c:v>35962</c:v>
                </c:pt>
                <c:pt idx="116">
                  <c:v>35963</c:v>
                </c:pt>
                <c:pt idx="117">
                  <c:v>35964</c:v>
                </c:pt>
                <c:pt idx="118">
                  <c:v>35965</c:v>
                </c:pt>
                <c:pt idx="119">
                  <c:v>35968</c:v>
                </c:pt>
                <c:pt idx="120">
                  <c:v>35969</c:v>
                </c:pt>
                <c:pt idx="121">
                  <c:v>35970</c:v>
                </c:pt>
                <c:pt idx="122">
                  <c:v>35971</c:v>
                </c:pt>
                <c:pt idx="123">
                  <c:v>35972</c:v>
                </c:pt>
                <c:pt idx="124">
                  <c:v>35975</c:v>
                </c:pt>
                <c:pt idx="125">
                  <c:v>35976</c:v>
                </c:pt>
                <c:pt idx="126">
                  <c:v>35977</c:v>
                </c:pt>
                <c:pt idx="127">
                  <c:v>35978</c:v>
                </c:pt>
                <c:pt idx="128">
                  <c:v>35979</c:v>
                </c:pt>
                <c:pt idx="129">
                  <c:v>35982</c:v>
                </c:pt>
                <c:pt idx="130">
                  <c:v>35983</c:v>
                </c:pt>
                <c:pt idx="131">
                  <c:v>35984</c:v>
                </c:pt>
                <c:pt idx="132">
                  <c:v>35985</c:v>
                </c:pt>
                <c:pt idx="133">
                  <c:v>35986</c:v>
                </c:pt>
                <c:pt idx="134">
                  <c:v>35989</c:v>
                </c:pt>
                <c:pt idx="135">
                  <c:v>35990</c:v>
                </c:pt>
                <c:pt idx="136">
                  <c:v>35991</c:v>
                </c:pt>
                <c:pt idx="137">
                  <c:v>35992</c:v>
                </c:pt>
                <c:pt idx="138">
                  <c:v>35993</c:v>
                </c:pt>
                <c:pt idx="139">
                  <c:v>35996</c:v>
                </c:pt>
                <c:pt idx="140">
                  <c:v>35997</c:v>
                </c:pt>
                <c:pt idx="141">
                  <c:v>35998</c:v>
                </c:pt>
                <c:pt idx="142">
                  <c:v>35999</c:v>
                </c:pt>
                <c:pt idx="143">
                  <c:v>36000</c:v>
                </c:pt>
                <c:pt idx="144">
                  <c:v>36003</c:v>
                </c:pt>
                <c:pt idx="145">
                  <c:v>36004</c:v>
                </c:pt>
                <c:pt idx="146">
                  <c:v>36005</c:v>
                </c:pt>
                <c:pt idx="147">
                  <c:v>36006</c:v>
                </c:pt>
                <c:pt idx="148">
                  <c:v>36007</c:v>
                </c:pt>
                <c:pt idx="149">
                  <c:v>36010</c:v>
                </c:pt>
                <c:pt idx="150">
                  <c:v>36011</c:v>
                </c:pt>
                <c:pt idx="151">
                  <c:v>36012</c:v>
                </c:pt>
                <c:pt idx="152">
                  <c:v>36013</c:v>
                </c:pt>
                <c:pt idx="153">
                  <c:v>36014</c:v>
                </c:pt>
                <c:pt idx="154">
                  <c:v>36017</c:v>
                </c:pt>
                <c:pt idx="155">
                  <c:v>36018</c:v>
                </c:pt>
                <c:pt idx="156">
                  <c:v>36019</c:v>
                </c:pt>
                <c:pt idx="157">
                  <c:v>36020</c:v>
                </c:pt>
                <c:pt idx="158">
                  <c:v>36021</c:v>
                </c:pt>
                <c:pt idx="159">
                  <c:v>36024</c:v>
                </c:pt>
                <c:pt idx="160">
                  <c:v>36025</c:v>
                </c:pt>
                <c:pt idx="161">
                  <c:v>36026</c:v>
                </c:pt>
                <c:pt idx="162">
                  <c:v>36027</c:v>
                </c:pt>
                <c:pt idx="163">
                  <c:v>36028</c:v>
                </c:pt>
                <c:pt idx="164">
                  <c:v>36031</c:v>
                </c:pt>
                <c:pt idx="165">
                  <c:v>36032</c:v>
                </c:pt>
                <c:pt idx="166">
                  <c:v>36033</c:v>
                </c:pt>
                <c:pt idx="167">
                  <c:v>36034</c:v>
                </c:pt>
                <c:pt idx="168">
                  <c:v>36035</c:v>
                </c:pt>
                <c:pt idx="169">
                  <c:v>36038</c:v>
                </c:pt>
                <c:pt idx="170">
                  <c:v>36039</c:v>
                </c:pt>
                <c:pt idx="171">
                  <c:v>36040</c:v>
                </c:pt>
                <c:pt idx="172">
                  <c:v>36041</c:v>
                </c:pt>
                <c:pt idx="173">
                  <c:v>36042</c:v>
                </c:pt>
                <c:pt idx="174">
                  <c:v>36045</c:v>
                </c:pt>
                <c:pt idx="175">
                  <c:v>36046</c:v>
                </c:pt>
                <c:pt idx="176">
                  <c:v>36047</c:v>
                </c:pt>
                <c:pt idx="177">
                  <c:v>36048</c:v>
                </c:pt>
                <c:pt idx="178">
                  <c:v>36049</c:v>
                </c:pt>
                <c:pt idx="179">
                  <c:v>36052</c:v>
                </c:pt>
                <c:pt idx="180">
                  <c:v>36053</c:v>
                </c:pt>
                <c:pt idx="181">
                  <c:v>36054</c:v>
                </c:pt>
                <c:pt idx="182">
                  <c:v>36055</c:v>
                </c:pt>
                <c:pt idx="183">
                  <c:v>36056</c:v>
                </c:pt>
                <c:pt idx="184">
                  <c:v>36059</c:v>
                </c:pt>
                <c:pt idx="185">
                  <c:v>36060</c:v>
                </c:pt>
                <c:pt idx="186">
                  <c:v>36061</c:v>
                </c:pt>
                <c:pt idx="187">
                  <c:v>36062</c:v>
                </c:pt>
                <c:pt idx="188">
                  <c:v>36063</c:v>
                </c:pt>
                <c:pt idx="189">
                  <c:v>36066</c:v>
                </c:pt>
                <c:pt idx="190">
                  <c:v>36067</c:v>
                </c:pt>
                <c:pt idx="191">
                  <c:v>36068</c:v>
                </c:pt>
                <c:pt idx="192">
                  <c:v>36069</c:v>
                </c:pt>
                <c:pt idx="193">
                  <c:v>36070</c:v>
                </c:pt>
                <c:pt idx="194">
                  <c:v>36073</c:v>
                </c:pt>
                <c:pt idx="195">
                  <c:v>36074</c:v>
                </c:pt>
                <c:pt idx="196">
                  <c:v>36075</c:v>
                </c:pt>
                <c:pt idx="197">
                  <c:v>36076</c:v>
                </c:pt>
                <c:pt idx="198">
                  <c:v>36077</c:v>
                </c:pt>
                <c:pt idx="199">
                  <c:v>36080</c:v>
                </c:pt>
                <c:pt idx="200">
                  <c:v>36081</c:v>
                </c:pt>
                <c:pt idx="201">
                  <c:v>36082</c:v>
                </c:pt>
                <c:pt idx="202">
                  <c:v>36083</c:v>
                </c:pt>
                <c:pt idx="203">
                  <c:v>36084</c:v>
                </c:pt>
                <c:pt idx="204">
                  <c:v>36087</c:v>
                </c:pt>
                <c:pt idx="205">
                  <c:v>36088</c:v>
                </c:pt>
                <c:pt idx="206">
                  <c:v>36089</c:v>
                </c:pt>
                <c:pt idx="207">
                  <c:v>36090</c:v>
                </c:pt>
                <c:pt idx="208">
                  <c:v>36091</c:v>
                </c:pt>
                <c:pt idx="209">
                  <c:v>36094</c:v>
                </c:pt>
                <c:pt idx="210">
                  <c:v>36095</c:v>
                </c:pt>
                <c:pt idx="211">
                  <c:v>36096</c:v>
                </c:pt>
                <c:pt idx="212">
                  <c:v>36097</c:v>
                </c:pt>
                <c:pt idx="213">
                  <c:v>36098</c:v>
                </c:pt>
                <c:pt idx="214">
                  <c:v>36101</c:v>
                </c:pt>
                <c:pt idx="215">
                  <c:v>36102</c:v>
                </c:pt>
                <c:pt idx="216">
                  <c:v>36103</c:v>
                </c:pt>
                <c:pt idx="217">
                  <c:v>36104</c:v>
                </c:pt>
                <c:pt idx="218">
                  <c:v>36105</c:v>
                </c:pt>
                <c:pt idx="219">
                  <c:v>36108</c:v>
                </c:pt>
                <c:pt idx="220">
                  <c:v>36109</c:v>
                </c:pt>
                <c:pt idx="221">
                  <c:v>36110</c:v>
                </c:pt>
                <c:pt idx="222">
                  <c:v>36111</c:v>
                </c:pt>
                <c:pt idx="223">
                  <c:v>36112</c:v>
                </c:pt>
                <c:pt idx="224">
                  <c:v>36115</c:v>
                </c:pt>
                <c:pt idx="225">
                  <c:v>36116</c:v>
                </c:pt>
                <c:pt idx="226">
                  <c:v>36117</c:v>
                </c:pt>
                <c:pt idx="227">
                  <c:v>36118</c:v>
                </c:pt>
                <c:pt idx="228">
                  <c:v>36119</c:v>
                </c:pt>
                <c:pt idx="229">
                  <c:v>36122</c:v>
                </c:pt>
                <c:pt idx="230">
                  <c:v>36123</c:v>
                </c:pt>
                <c:pt idx="231">
                  <c:v>36124</c:v>
                </c:pt>
                <c:pt idx="232">
                  <c:v>36125</c:v>
                </c:pt>
                <c:pt idx="233">
                  <c:v>36126</c:v>
                </c:pt>
                <c:pt idx="234">
                  <c:v>36129</c:v>
                </c:pt>
                <c:pt idx="235">
                  <c:v>36130</c:v>
                </c:pt>
                <c:pt idx="236">
                  <c:v>36131</c:v>
                </c:pt>
                <c:pt idx="237">
                  <c:v>36132</c:v>
                </c:pt>
                <c:pt idx="238">
                  <c:v>36133</c:v>
                </c:pt>
                <c:pt idx="239">
                  <c:v>36136</c:v>
                </c:pt>
                <c:pt idx="240">
                  <c:v>36137</c:v>
                </c:pt>
                <c:pt idx="241">
                  <c:v>36138</c:v>
                </c:pt>
                <c:pt idx="242">
                  <c:v>36139</c:v>
                </c:pt>
                <c:pt idx="243">
                  <c:v>36140</c:v>
                </c:pt>
                <c:pt idx="244">
                  <c:v>36143</c:v>
                </c:pt>
                <c:pt idx="245">
                  <c:v>36144</c:v>
                </c:pt>
                <c:pt idx="246">
                  <c:v>36145</c:v>
                </c:pt>
                <c:pt idx="247">
                  <c:v>36146</c:v>
                </c:pt>
                <c:pt idx="248">
                  <c:v>36147</c:v>
                </c:pt>
                <c:pt idx="249">
                  <c:v>36150</c:v>
                </c:pt>
                <c:pt idx="250">
                  <c:v>36151</c:v>
                </c:pt>
                <c:pt idx="251">
                  <c:v>36152</c:v>
                </c:pt>
                <c:pt idx="252">
                  <c:v>36153</c:v>
                </c:pt>
                <c:pt idx="253">
                  <c:v>36157</c:v>
                </c:pt>
                <c:pt idx="254">
                  <c:v>36158</c:v>
                </c:pt>
                <c:pt idx="255">
                  <c:v>36159</c:v>
                </c:pt>
                <c:pt idx="256">
                  <c:v>36160</c:v>
                </c:pt>
                <c:pt idx="257">
                  <c:v>36164</c:v>
                </c:pt>
                <c:pt idx="258">
                  <c:v>36165</c:v>
                </c:pt>
                <c:pt idx="259">
                  <c:v>36166</c:v>
                </c:pt>
                <c:pt idx="260">
                  <c:v>36167</c:v>
                </c:pt>
                <c:pt idx="261">
                  <c:v>36168</c:v>
                </c:pt>
                <c:pt idx="262">
                  <c:v>36171</c:v>
                </c:pt>
                <c:pt idx="263">
                  <c:v>36172</c:v>
                </c:pt>
                <c:pt idx="264">
                  <c:v>36173</c:v>
                </c:pt>
                <c:pt idx="265">
                  <c:v>36174</c:v>
                </c:pt>
                <c:pt idx="266">
                  <c:v>36175</c:v>
                </c:pt>
                <c:pt idx="267">
                  <c:v>36178</c:v>
                </c:pt>
                <c:pt idx="268">
                  <c:v>36179</c:v>
                </c:pt>
                <c:pt idx="269">
                  <c:v>36180</c:v>
                </c:pt>
                <c:pt idx="270">
                  <c:v>36181</c:v>
                </c:pt>
                <c:pt idx="271">
                  <c:v>36182</c:v>
                </c:pt>
                <c:pt idx="272">
                  <c:v>36185</c:v>
                </c:pt>
                <c:pt idx="273">
                  <c:v>36186</c:v>
                </c:pt>
                <c:pt idx="274">
                  <c:v>36187</c:v>
                </c:pt>
                <c:pt idx="275">
                  <c:v>36188</c:v>
                </c:pt>
                <c:pt idx="276">
                  <c:v>36189</c:v>
                </c:pt>
                <c:pt idx="277">
                  <c:v>36192</c:v>
                </c:pt>
                <c:pt idx="278">
                  <c:v>36193</c:v>
                </c:pt>
                <c:pt idx="279">
                  <c:v>36194</c:v>
                </c:pt>
                <c:pt idx="280">
                  <c:v>36195</c:v>
                </c:pt>
                <c:pt idx="281">
                  <c:v>36196</c:v>
                </c:pt>
                <c:pt idx="282">
                  <c:v>36199</c:v>
                </c:pt>
                <c:pt idx="283">
                  <c:v>36200</c:v>
                </c:pt>
                <c:pt idx="284">
                  <c:v>36201</c:v>
                </c:pt>
                <c:pt idx="285">
                  <c:v>36202</c:v>
                </c:pt>
                <c:pt idx="286">
                  <c:v>36203</c:v>
                </c:pt>
                <c:pt idx="287">
                  <c:v>36207</c:v>
                </c:pt>
                <c:pt idx="288">
                  <c:v>36208</c:v>
                </c:pt>
                <c:pt idx="289">
                  <c:v>36209</c:v>
                </c:pt>
                <c:pt idx="290">
                  <c:v>36210</c:v>
                </c:pt>
                <c:pt idx="291">
                  <c:v>36213</c:v>
                </c:pt>
                <c:pt idx="292">
                  <c:v>36214</c:v>
                </c:pt>
                <c:pt idx="293">
                  <c:v>36215</c:v>
                </c:pt>
                <c:pt idx="294">
                  <c:v>36216</c:v>
                </c:pt>
                <c:pt idx="295">
                  <c:v>36217</c:v>
                </c:pt>
                <c:pt idx="296">
                  <c:v>36220</c:v>
                </c:pt>
                <c:pt idx="297">
                  <c:v>36221</c:v>
                </c:pt>
                <c:pt idx="298">
                  <c:v>36222</c:v>
                </c:pt>
                <c:pt idx="299">
                  <c:v>36223</c:v>
                </c:pt>
                <c:pt idx="300">
                  <c:v>36224</c:v>
                </c:pt>
                <c:pt idx="301">
                  <c:v>36227</c:v>
                </c:pt>
                <c:pt idx="302">
                  <c:v>36228</c:v>
                </c:pt>
                <c:pt idx="303">
                  <c:v>36229</c:v>
                </c:pt>
                <c:pt idx="304">
                  <c:v>36230</c:v>
                </c:pt>
                <c:pt idx="305">
                  <c:v>36231</c:v>
                </c:pt>
                <c:pt idx="306">
                  <c:v>36234</c:v>
                </c:pt>
                <c:pt idx="307">
                  <c:v>36235</c:v>
                </c:pt>
                <c:pt idx="308">
                  <c:v>36236</c:v>
                </c:pt>
                <c:pt idx="309">
                  <c:v>36237</c:v>
                </c:pt>
                <c:pt idx="310">
                  <c:v>36238</c:v>
                </c:pt>
                <c:pt idx="311">
                  <c:v>36241</c:v>
                </c:pt>
                <c:pt idx="312">
                  <c:v>36242</c:v>
                </c:pt>
                <c:pt idx="313">
                  <c:v>36243</c:v>
                </c:pt>
                <c:pt idx="314">
                  <c:v>36244</c:v>
                </c:pt>
                <c:pt idx="315">
                  <c:v>36245</c:v>
                </c:pt>
                <c:pt idx="316">
                  <c:v>36248</c:v>
                </c:pt>
                <c:pt idx="317">
                  <c:v>36249</c:v>
                </c:pt>
                <c:pt idx="318">
                  <c:v>36250</c:v>
                </c:pt>
                <c:pt idx="319">
                  <c:v>36251</c:v>
                </c:pt>
                <c:pt idx="320">
                  <c:v>36255</c:v>
                </c:pt>
                <c:pt idx="321">
                  <c:v>36256</c:v>
                </c:pt>
                <c:pt idx="322">
                  <c:v>36257</c:v>
                </c:pt>
                <c:pt idx="323">
                  <c:v>36258</c:v>
                </c:pt>
                <c:pt idx="324">
                  <c:v>36259</c:v>
                </c:pt>
                <c:pt idx="325">
                  <c:v>36262</c:v>
                </c:pt>
                <c:pt idx="326">
                  <c:v>36263</c:v>
                </c:pt>
                <c:pt idx="327">
                  <c:v>36264</c:v>
                </c:pt>
                <c:pt idx="328">
                  <c:v>36265</c:v>
                </c:pt>
                <c:pt idx="329">
                  <c:v>36266</c:v>
                </c:pt>
                <c:pt idx="330">
                  <c:v>36269</c:v>
                </c:pt>
                <c:pt idx="331">
                  <c:v>36270</c:v>
                </c:pt>
                <c:pt idx="332">
                  <c:v>36271</c:v>
                </c:pt>
                <c:pt idx="333">
                  <c:v>36272</c:v>
                </c:pt>
                <c:pt idx="334">
                  <c:v>36273</c:v>
                </c:pt>
                <c:pt idx="335">
                  <c:v>36276</c:v>
                </c:pt>
                <c:pt idx="336">
                  <c:v>36277</c:v>
                </c:pt>
                <c:pt idx="337">
                  <c:v>36278</c:v>
                </c:pt>
                <c:pt idx="338">
                  <c:v>36279</c:v>
                </c:pt>
                <c:pt idx="339">
                  <c:v>36280</c:v>
                </c:pt>
                <c:pt idx="340">
                  <c:v>36283</c:v>
                </c:pt>
                <c:pt idx="341">
                  <c:v>36284</c:v>
                </c:pt>
                <c:pt idx="342">
                  <c:v>36285</c:v>
                </c:pt>
                <c:pt idx="343">
                  <c:v>36286</c:v>
                </c:pt>
                <c:pt idx="344">
                  <c:v>36287</c:v>
                </c:pt>
                <c:pt idx="345">
                  <c:v>36290</c:v>
                </c:pt>
                <c:pt idx="346">
                  <c:v>36291</c:v>
                </c:pt>
                <c:pt idx="347">
                  <c:v>36292</c:v>
                </c:pt>
                <c:pt idx="348">
                  <c:v>36293</c:v>
                </c:pt>
                <c:pt idx="349">
                  <c:v>36294</c:v>
                </c:pt>
                <c:pt idx="350">
                  <c:v>36297</c:v>
                </c:pt>
                <c:pt idx="351">
                  <c:v>36298</c:v>
                </c:pt>
                <c:pt idx="352">
                  <c:v>36299</c:v>
                </c:pt>
                <c:pt idx="353">
                  <c:v>36300</c:v>
                </c:pt>
                <c:pt idx="354">
                  <c:v>36301</c:v>
                </c:pt>
                <c:pt idx="355">
                  <c:v>36304</c:v>
                </c:pt>
                <c:pt idx="356">
                  <c:v>36305</c:v>
                </c:pt>
                <c:pt idx="357">
                  <c:v>36306</c:v>
                </c:pt>
                <c:pt idx="358">
                  <c:v>36307</c:v>
                </c:pt>
                <c:pt idx="359">
                  <c:v>36308</c:v>
                </c:pt>
                <c:pt idx="360">
                  <c:v>36312</c:v>
                </c:pt>
                <c:pt idx="361">
                  <c:v>36313</c:v>
                </c:pt>
                <c:pt idx="362">
                  <c:v>36314</c:v>
                </c:pt>
                <c:pt idx="363">
                  <c:v>36315</c:v>
                </c:pt>
                <c:pt idx="364">
                  <c:v>36318</c:v>
                </c:pt>
                <c:pt idx="365">
                  <c:v>36319</c:v>
                </c:pt>
                <c:pt idx="366">
                  <c:v>36320</c:v>
                </c:pt>
                <c:pt idx="367">
                  <c:v>36321</c:v>
                </c:pt>
                <c:pt idx="368">
                  <c:v>36322</c:v>
                </c:pt>
                <c:pt idx="369">
                  <c:v>36325</c:v>
                </c:pt>
                <c:pt idx="370">
                  <c:v>36326</c:v>
                </c:pt>
                <c:pt idx="371">
                  <c:v>36327</c:v>
                </c:pt>
                <c:pt idx="372">
                  <c:v>36328</c:v>
                </c:pt>
                <c:pt idx="373">
                  <c:v>36329</c:v>
                </c:pt>
                <c:pt idx="374">
                  <c:v>36332</c:v>
                </c:pt>
                <c:pt idx="375">
                  <c:v>36333</c:v>
                </c:pt>
                <c:pt idx="376">
                  <c:v>36334</c:v>
                </c:pt>
                <c:pt idx="377">
                  <c:v>36335</c:v>
                </c:pt>
                <c:pt idx="378">
                  <c:v>36336</c:v>
                </c:pt>
                <c:pt idx="379">
                  <c:v>36339</c:v>
                </c:pt>
                <c:pt idx="380">
                  <c:v>36340</c:v>
                </c:pt>
                <c:pt idx="381">
                  <c:v>36341</c:v>
                </c:pt>
                <c:pt idx="382">
                  <c:v>36342</c:v>
                </c:pt>
                <c:pt idx="383">
                  <c:v>36343</c:v>
                </c:pt>
                <c:pt idx="384">
                  <c:v>36347</c:v>
                </c:pt>
                <c:pt idx="385">
                  <c:v>36348</c:v>
                </c:pt>
                <c:pt idx="386">
                  <c:v>36349</c:v>
                </c:pt>
                <c:pt idx="387">
                  <c:v>36350</c:v>
                </c:pt>
                <c:pt idx="388">
                  <c:v>36353</c:v>
                </c:pt>
                <c:pt idx="389">
                  <c:v>36354</c:v>
                </c:pt>
                <c:pt idx="390">
                  <c:v>36355</c:v>
                </c:pt>
                <c:pt idx="391">
                  <c:v>36356</c:v>
                </c:pt>
                <c:pt idx="392">
                  <c:v>36357</c:v>
                </c:pt>
                <c:pt idx="393">
                  <c:v>36360</c:v>
                </c:pt>
                <c:pt idx="394">
                  <c:v>36361</c:v>
                </c:pt>
                <c:pt idx="395">
                  <c:v>36362</c:v>
                </c:pt>
                <c:pt idx="396">
                  <c:v>36363</c:v>
                </c:pt>
                <c:pt idx="397">
                  <c:v>36364</c:v>
                </c:pt>
                <c:pt idx="398">
                  <c:v>36367</c:v>
                </c:pt>
                <c:pt idx="399">
                  <c:v>36368</c:v>
                </c:pt>
                <c:pt idx="400">
                  <c:v>36369</c:v>
                </c:pt>
                <c:pt idx="401">
                  <c:v>36370</c:v>
                </c:pt>
                <c:pt idx="402">
                  <c:v>36371</c:v>
                </c:pt>
                <c:pt idx="403">
                  <c:v>36374</c:v>
                </c:pt>
                <c:pt idx="404">
                  <c:v>36375</c:v>
                </c:pt>
                <c:pt idx="405">
                  <c:v>36376</c:v>
                </c:pt>
                <c:pt idx="406">
                  <c:v>36377</c:v>
                </c:pt>
                <c:pt idx="407">
                  <c:v>36378</c:v>
                </c:pt>
                <c:pt idx="408">
                  <c:v>36381</c:v>
                </c:pt>
                <c:pt idx="409">
                  <c:v>36382</c:v>
                </c:pt>
                <c:pt idx="410">
                  <c:v>36383</c:v>
                </c:pt>
                <c:pt idx="411">
                  <c:v>36384</c:v>
                </c:pt>
                <c:pt idx="412">
                  <c:v>36385</c:v>
                </c:pt>
                <c:pt idx="413">
                  <c:v>36388</c:v>
                </c:pt>
                <c:pt idx="414">
                  <c:v>36389</c:v>
                </c:pt>
                <c:pt idx="415">
                  <c:v>36390</c:v>
                </c:pt>
                <c:pt idx="416">
                  <c:v>36391</c:v>
                </c:pt>
                <c:pt idx="417">
                  <c:v>36392</c:v>
                </c:pt>
                <c:pt idx="418">
                  <c:v>36395</c:v>
                </c:pt>
                <c:pt idx="419">
                  <c:v>36396</c:v>
                </c:pt>
                <c:pt idx="420">
                  <c:v>36397</c:v>
                </c:pt>
                <c:pt idx="421">
                  <c:v>36398</c:v>
                </c:pt>
                <c:pt idx="422">
                  <c:v>36399</c:v>
                </c:pt>
                <c:pt idx="423">
                  <c:v>36402</c:v>
                </c:pt>
                <c:pt idx="424">
                  <c:v>36403</c:v>
                </c:pt>
                <c:pt idx="425">
                  <c:v>36404</c:v>
                </c:pt>
                <c:pt idx="426">
                  <c:v>36405</c:v>
                </c:pt>
                <c:pt idx="427">
                  <c:v>36406</c:v>
                </c:pt>
                <c:pt idx="428">
                  <c:v>36409</c:v>
                </c:pt>
                <c:pt idx="429">
                  <c:v>36410</c:v>
                </c:pt>
                <c:pt idx="430">
                  <c:v>36411</c:v>
                </c:pt>
                <c:pt idx="431">
                  <c:v>36412</c:v>
                </c:pt>
                <c:pt idx="432">
                  <c:v>36413</c:v>
                </c:pt>
                <c:pt idx="433">
                  <c:v>36416</c:v>
                </c:pt>
                <c:pt idx="434">
                  <c:v>36417</c:v>
                </c:pt>
                <c:pt idx="435">
                  <c:v>36418</c:v>
                </c:pt>
                <c:pt idx="436">
                  <c:v>36419</c:v>
                </c:pt>
                <c:pt idx="437">
                  <c:v>36420</c:v>
                </c:pt>
                <c:pt idx="438">
                  <c:v>36423</c:v>
                </c:pt>
                <c:pt idx="439">
                  <c:v>36424</c:v>
                </c:pt>
                <c:pt idx="440">
                  <c:v>36425</c:v>
                </c:pt>
                <c:pt idx="441">
                  <c:v>36426</c:v>
                </c:pt>
                <c:pt idx="442">
                  <c:v>36427</c:v>
                </c:pt>
                <c:pt idx="443">
                  <c:v>36430</c:v>
                </c:pt>
                <c:pt idx="444">
                  <c:v>36431</c:v>
                </c:pt>
                <c:pt idx="445">
                  <c:v>36432</c:v>
                </c:pt>
                <c:pt idx="446">
                  <c:v>36433</c:v>
                </c:pt>
                <c:pt idx="447">
                  <c:v>36434</c:v>
                </c:pt>
                <c:pt idx="448">
                  <c:v>36437</c:v>
                </c:pt>
                <c:pt idx="449">
                  <c:v>36438</c:v>
                </c:pt>
                <c:pt idx="450">
                  <c:v>36439</c:v>
                </c:pt>
                <c:pt idx="451">
                  <c:v>36440</c:v>
                </c:pt>
                <c:pt idx="452">
                  <c:v>36441</c:v>
                </c:pt>
                <c:pt idx="453">
                  <c:v>36444</c:v>
                </c:pt>
                <c:pt idx="454">
                  <c:v>36445</c:v>
                </c:pt>
                <c:pt idx="455">
                  <c:v>36446</c:v>
                </c:pt>
                <c:pt idx="456">
                  <c:v>36447</c:v>
                </c:pt>
                <c:pt idx="457">
                  <c:v>36448</c:v>
                </c:pt>
                <c:pt idx="458">
                  <c:v>36451</c:v>
                </c:pt>
                <c:pt idx="459">
                  <c:v>36452</c:v>
                </c:pt>
                <c:pt idx="460">
                  <c:v>36453</c:v>
                </c:pt>
                <c:pt idx="461">
                  <c:v>36454</c:v>
                </c:pt>
                <c:pt idx="462">
                  <c:v>36455</c:v>
                </c:pt>
                <c:pt idx="463">
                  <c:v>36458</c:v>
                </c:pt>
                <c:pt idx="464">
                  <c:v>36459</c:v>
                </c:pt>
                <c:pt idx="465">
                  <c:v>36460</c:v>
                </c:pt>
                <c:pt idx="466">
                  <c:v>36461</c:v>
                </c:pt>
                <c:pt idx="467">
                  <c:v>36462</c:v>
                </c:pt>
                <c:pt idx="468">
                  <c:v>36465</c:v>
                </c:pt>
                <c:pt idx="469">
                  <c:v>36466</c:v>
                </c:pt>
                <c:pt idx="470">
                  <c:v>36467</c:v>
                </c:pt>
                <c:pt idx="471">
                  <c:v>36468</c:v>
                </c:pt>
                <c:pt idx="472">
                  <c:v>36469</c:v>
                </c:pt>
                <c:pt idx="473">
                  <c:v>36472</c:v>
                </c:pt>
                <c:pt idx="474">
                  <c:v>36473</c:v>
                </c:pt>
                <c:pt idx="475">
                  <c:v>36474</c:v>
                </c:pt>
                <c:pt idx="476">
                  <c:v>36475</c:v>
                </c:pt>
                <c:pt idx="477">
                  <c:v>36476</c:v>
                </c:pt>
                <c:pt idx="478">
                  <c:v>36479</c:v>
                </c:pt>
                <c:pt idx="479">
                  <c:v>36480</c:v>
                </c:pt>
                <c:pt idx="480">
                  <c:v>36481</c:v>
                </c:pt>
                <c:pt idx="481">
                  <c:v>36482</c:v>
                </c:pt>
                <c:pt idx="482">
                  <c:v>36483</c:v>
                </c:pt>
                <c:pt idx="483">
                  <c:v>36486</c:v>
                </c:pt>
                <c:pt idx="484">
                  <c:v>36487</c:v>
                </c:pt>
                <c:pt idx="485">
                  <c:v>36488</c:v>
                </c:pt>
                <c:pt idx="486">
                  <c:v>36489</c:v>
                </c:pt>
                <c:pt idx="487">
                  <c:v>36490</c:v>
                </c:pt>
                <c:pt idx="488">
                  <c:v>36493</c:v>
                </c:pt>
                <c:pt idx="489">
                  <c:v>36494</c:v>
                </c:pt>
                <c:pt idx="490">
                  <c:v>36495</c:v>
                </c:pt>
                <c:pt idx="491">
                  <c:v>36496</c:v>
                </c:pt>
                <c:pt idx="492">
                  <c:v>36497</c:v>
                </c:pt>
                <c:pt idx="493">
                  <c:v>36500</c:v>
                </c:pt>
                <c:pt idx="494">
                  <c:v>36501</c:v>
                </c:pt>
                <c:pt idx="495">
                  <c:v>36502</c:v>
                </c:pt>
                <c:pt idx="496">
                  <c:v>36503</c:v>
                </c:pt>
                <c:pt idx="497">
                  <c:v>36504</c:v>
                </c:pt>
                <c:pt idx="498">
                  <c:v>36507</c:v>
                </c:pt>
                <c:pt idx="499">
                  <c:v>36508</c:v>
                </c:pt>
                <c:pt idx="500">
                  <c:v>36509</c:v>
                </c:pt>
                <c:pt idx="501">
                  <c:v>36510</c:v>
                </c:pt>
                <c:pt idx="502">
                  <c:v>36511</c:v>
                </c:pt>
                <c:pt idx="503">
                  <c:v>36514</c:v>
                </c:pt>
                <c:pt idx="504">
                  <c:v>36515</c:v>
                </c:pt>
                <c:pt idx="505">
                  <c:v>36516</c:v>
                </c:pt>
                <c:pt idx="506">
                  <c:v>36517</c:v>
                </c:pt>
                <c:pt idx="507">
                  <c:v>36521</c:v>
                </c:pt>
                <c:pt idx="508">
                  <c:v>36522</c:v>
                </c:pt>
                <c:pt idx="509">
                  <c:v>36523</c:v>
                </c:pt>
                <c:pt idx="510">
                  <c:v>36524</c:v>
                </c:pt>
                <c:pt idx="511">
                  <c:v>36529</c:v>
                </c:pt>
                <c:pt idx="512">
                  <c:v>36530</c:v>
                </c:pt>
                <c:pt idx="513">
                  <c:v>36531</c:v>
                </c:pt>
                <c:pt idx="514">
                  <c:v>36532</c:v>
                </c:pt>
                <c:pt idx="515">
                  <c:v>36535</c:v>
                </c:pt>
                <c:pt idx="516">
                  <c:v>36536</c:v>
                </c:pt>
                <c:pt idx="517">
                  <c:v>36537</c:v>
                </c:pt>
                <c:pt idx="518">
                  <c:v>36538</c:v>
                </c:pt>
                <c:pt idx="519">
                  <c:v>36539</c:v>
                </c:pt>
                <c:pt idx="520">
                  <c:v>36542</c:v>
                </c:pt>
                <c:pt idx="521">
                  <c:v>36543</c:v>
                </c:pt>
                <c:pt idx="522">
                  <c:v>36544</c:v>
                </c:pt>
                <c:pt idx="523">
                  <c:v>36545</c:v>
                </c:pt>
                <c:pt idx="524">
                  <c:v>36546</c:v>
                </c:pt>
                <c:pt idx="525">
                  <c:v>36549</c:v>
                </c:pt>
                <c:pt idx="526">
                  <c:v>36550</c:v>
                </c:pt>
                <c:pt idx="527">
                  <c:v>36551</c:v>
                </c:pt>
                <c:pt idx="528">
                  <c:v>36552</c:v>
                </c:pt>
                <c:pt idx="529">
                  <c:v>36553</c:v>
                </c:pt>
                <c:pt idx="530">
                  <c:v>36556</c:v>
                </c:pt>
                <c:pt idx="531">
                  <c:v>36557</c:v>
                </c:pt>
                <c:pt idx="532">
                  <c:v>36558</c:v>
                </c:pt>
                <c:pt idx="533">
                  <c:v>36559</c:v>
                </c:pt>
                <c:pt idx="534">
                  <c:v>36560</c:v>
                </c:pt>
                <c:pt idx="535">
                  <c:v>36563</c:v>
                </c:pt>
                <c:pt idx="536">
                  <c:v>36564</c:v>
                </c:pt>
                <c:pt idx="537">
                  <c:v>36565</c:v>
                </c:pt>
                <c:pt idx="538">
                  <c:v>36566</c:v>
                </c:pt>
                <c:pt idx="539">
                  <c:v>36567</c:v>
                </c:pt>
                <c:pt idx="540">
                  <c:v>36570</c:v>
                </c:pt>
                <c:pt idx="541">
                  <c:v>36571</c:v>
                </c:pt>
                <c:pt idx="542">
                  <c:v>36572</c:v>
                </c:pt>
                <c:pt idx="543">
                  <c:v>36573</c:v>
                </c:pt>
                <c:pt idx="544">
                  <c:v>36574</c:v>
                </c:pt>
                <c:pt idx="545">
                  <c:v>36577</c:v>
                </c:pt>
                <c:pt idx="546">
                  <c:v>36578</c:v>
                </c:pt>
                <c:pt idx="547">
                  <c:v>36579</c:v>
                </c:pt>
                <c:pt idx="548">
                  <c:v>36580</c:v>
                </c:pt>
                <c:pt idx="549">
                  <c:v>36581</c:v>
                </c:pt>
                <c:pt idx="550">
                  <c:v>36584</c:v>
                </c:pt>
                <c:pt idx="551">
                  <c:v>36585</c:v>
                </c:pt>
                <c:pt idx="552">
                  <c:v>36586</c:v>
                </c:pt>
                <c:pt idx="553">
                  <c:v>36587</c:v>
                </c:pt>
                <c:pt idx="554">
                  <c:v>36588</c:v>
                </c:pt>
                <c:pt idx="555">
                  <c:v>36591</c:v>
                </c:pt>
                <c:pt idx="556">
                  <c:v>36592</c:v>
                </c:pt>
                <c:pt idx="557">
                  <c:v>36593</c:v>
                </c:pt>
                <c:pt idx="558">
                  <c:v>36594</c:v>
                </c:pt>
                <c:pt idx="559">
                  <c:v>36595</c:v>
                </c:pt>
                <c:pt idx="560">
                  <c:v>36598</c:v>
                </c:pt>
                <c:pt idx="561">
                  <c:v>36599</c:v>
                </c:pt>
                <c:pt idx="562">
                  <c:v>36600</c:v>
                </c:pt>
                <c:pt idx="563">
                  <c:v>36601</c:v>
                </c:pt>
                <c:pt idx="564">
                  <c:v>36602</c:v>
                </c:pt>
                <c:pt idx="565">
                  <c:v>36605</c:v>
                </c:pt>
                <c:pt idx="566">
                  <c:v>36606</c:v>
                </c:pt>
                <c:pt idx="567">
                  <c:v>36607</c:v>
                </c:pt>
                <c:pt idx="568">
                  <c:v>36608</c:v>
                </c:pt>
                <c:pt idx="569">
                  <c:v>36609</c:v>
                </c:pt>
                <c:pt idx="570">
                  <c:v>36612</c:v>
                </c:pt>
                <c:pt idx="571">
                  <c:v>36613</c:v>
                </c:pt>
                <c:pt idx="572">
                  <c:v>36614</c:v>
                </c:pt>
                <c:pt idx="573">
                  <c:v>36615</c:v>
                </c:pt>
                <c:pt idx="574">
                  <c:v>36616</c:v>
                </c:pt>
                <c:pt idx="575">
                  <c:v>36619</c:v>
                </c:pt>
                <c:pt idx="576">
                  <c:v>36620</c:v>
                </c:pt>
                <c:pt idx="577">
                  <c:v>36621</c:v>
                </c:pt>
                <c:pt idx="578">
                  <c:v>36622</c:v>
                </c:pt>
                <c:pt idx="579">
                  <c:v>36623</c:v>
                </c:pt>
                <c:pt idx="580">
                  <c:v>36626</c:v>
                </c:pt>
                <c:pt idx="581">
                  <c:v>36627</c:v>
                </c:pt>
                <c:pt idx="582">
                  <c:v>36628</c:v>
                </c:pt>
                <c:pt idx="583">
                  <c:v>36629</c:v>
                </c:pt>
                <c:pt idx="584">
                  <c:v>36630</c:v>
                </c:pt>
                <c:pt idx="585">
                  <c:v>36633</c:v>
                </c:pt>
                <c:pt idx="586">
                  <c:v>36634</c:v>
                </c:pt>
                <c:pt idx="587">
                  <c:v>36635</c:v>
                </c:pt>
                <c:pt idx="588">
                  <c:v>36636</c:v>
                </c:pt>
                <c:pt idx="589">
                  <c:v>36640</c:v>
                </c:pt>
                <c:pt idx="590">
                  <c:v>36641</c:v>
                </c:pt>
                <c:pt idx="591">
                  <c:v>36642</c:v>
                </c:pt>
                <c:pt idx="592">
                  <c:v>36643</c:v>
                </c:pt>
                <c:pt idx="593">
                  <c:v>36644</c:v>
                </c:pt>
                <c:pt idx="594">
                  <c:v>36647</c:v>
                </c:pt>
                <c:pt idx="595">
                  <c:v>36648</c:v>
                </c:pt>
                <c:pt idx="596">
                  <c:v>36649</c:v>
                </c:pt>
                <c:pt idx="597">
                  <c:v>36650</c:v>
                </c:pt>
                <c:pt idx="598">
                  <c:v>36651</c:v>
                </c:pt>
                <c:pt idx="599">
                  <c:v>36654</c:v>
                </c:pt>
                <c:pt idx="600">
                  <c:v>36655</c:v>
                </c:pt>
                <c:pt idx="601">
                  <c:v>36656</c:v>
                </c:pt>
                <c:pt idx="602">
                  <c:v>36657</c:v>
                </c:pt>
                <c:pt idx="603">
                  <c:v>36658</c:v>
                </c:pt>
                <c:pt idx="604">
                  <c:v>36661</c:v>
                </c:pt>
                <c:pt idx="605">
                  <c:v>36662</c:v>
                </c:pt>
                <c:pt idx="606">
                  <c:v>36663</c:v>
                </c:pt>
                <c:pt idx="607">
                  <c:v>36664</c:v>
                </c:pt>
                <c:pt idx="608">
                  <c:v>36665</c:v>
                </c:pt>
                <c:pt idx="609">
                  <c:v>36668</c:v>
                </c:pt>
                <c:pt idx="610">
                  <c:v>36669</c:v>
                </c:pt>
                <c:pt idx="611">
                  <c:v>36670</c:v>
                </c:pt>
                <c:pt idx="612">
                  <c:v>36671</c:v>
                </c:pt>
                <c:pt idx="613">
                  <c:v>36672</c:v>
                </c:pt>
                <c:pt idx="614">
                  <c:v>36676</c:v>
                </c:pt>
                <c:pt idx="615">
                  <c:v>36677</c:v>
                </c:pt>
                <c:pt idx="616">
                  <c:v>36678</c:v>
                </c:pt>
                <c:pt idx="617">
                  <c:v>36679</c:v>
                </c:pt>
                <c:pt idx="618">
                  <c:v>36682</c:v>
                </c:pt>
                <c:pt idx="619">
                  <c:v>36683</c:v>
                </c:pt>
                <c:pt idx="620">
                  <c:v>36684</c:v>
                </c:pt>
                <c:pt idx="621">
                  <c:v>36685</c:v>
                </c:pt>
                <c:pt idx="622">
                  <c:v>36686</c:v>
                </c:pt>
                <c:pt idx="623">
                  <c:v>36689</c:v>
                </c:pt>
                <c:pt idx="624">
                  <c:v>36690</c:v>
                </c:pt>
                <c:pt idx="625">
                  <c:v>36691</c:v>
                </c:pt>
                <c:pt idx="626">
                  <c:v>36692</c:v>
                </c:pt>
                <c:pt idx="627">
                  <c:v>36693</c:v>
                </c:pt>
                <c:pt idx="628">
                  <c:v>36696</c:v>
                </c:pt>
                <c:pt idx="629">
                  <c:v>36697</c:v>
                </c:pt>
                <c:pt idx="630">
                  <c:v>36698</c:v>
                </c:pt>
                <c:pt idx="631">
                  <c:v>36699</c:v>
                </c:pt>
                <c:pt idx="632">
                  <c:v>36700</c:v>
                </c:pt>
                <c:pt idx="633">
                  <c:v>36703</c:v>
                </c:pt>
                <c:pt idx="634">
                  <c:v>36704</c:v>
                </c:pt>
                <c:pt idx="635">
                  <c:v>36705</c:v>
                </c:pt>
                <c:pt idx="636">
                  <c:v>36706</c:v>
                </c:pt>
                <c:pt idx="637">
                  <c:v>36707</c:v>
                </c:pt>
                <c:pt idx="638">
                  <c:v>36710</c:v>
                </c:pt>
                <c:pt idx="639">
                  <c:v>36711</c:v>
                </c:pt>
                <c:pt idx="640">
                  <c:v>36712</c:v>
                </c:pt>
                <c:pt idx="641">
                  <c:v>36713</c:v>
                </c:pt>
                <c:pt idx="642">
                  <c:v>36714</c:v>
                </c:pt>
                <c:pt idx="643">
                  <c:v>36717</c:v>
                </c:pt>
                <c:pt idx="644">
                  <c:v>36718</c:v>
                </c:pt>
                <c:pt idx="645">
                  <c:v>36719</c:v>
                </c:pt>
                <c:pt idx="646">
                  <c:v>36720</c:v>
                </c:pt>
                <c:pt idx="647">
                  <c:v>36721</c:v>
                </c:pt>
                <c:pt idx="648">
                  <c:v>36724</c:v>
                </c:pt>
                <c:pt idx="649">
                  <c:v>36725</c:v>
                </c:pt>
                <c:pt idx="650">
                  <c:v>36726</c:v>
                </c:pt>
                <c:pt idx="651">
                  <c:v>36727</c:v>
                </c:pt>
                <c:pt idx="652">
                  <c:v>36728</c:v>
                </c:pt>
                <c:pt idx="653">
                  <c:v>36731</c:v>
                </c:pt>
                <c:pt idx="654">
                  <c:v>36732</c:v>
                </c:pt>
                <c:pt idx="655">
                  <c:v>36733</c:v>
                </c:pt>
                <c:pt idx="656">
                  <c:v>36734</c:v>
                </c:pt>
                <c:pt idx="657">
                  <c:v>36735</c:v>
                </c:pt>
                <c:pt idx="658">
                  <c:v>36738</c:v>
                </c:pt>
                <c:pt idx="659">
                  <c:v>36739</c:v>
                </c:pt>
                <c:pt idx="660">
                  <c:v>36740</c:v>
                </c:pt>
                <c:pt idx="661">
                  <c:v>36741</c:v>
                </c:pt>
                <c:pt idx="662">
                  <c:v>36742</c:v>
                </c:pt>
                <c:pt idx="663">
                  <c:v>36745</c:v>
                </c:pt>
                <c:pt idx="664">
                  <c:v>36746</c:v>
                </c:pt>
                <c:pt idx="665">
                  <c:v>36747</c:v>
                </c:pt>
                <c:pt idx="666">
                  <c:v>36748</c:v>
                </c:pt>
                <c:pt idx="667">
                  <c:v>36749</c:v>
                </c:pt>
                <c:pt idx="668">
                  <c:v>36752</c:v>
                </c:pt>
                <c:pt idx="669">
                  <c:v>36753</c:v>
                </c:pt>
                <c:pt idx="670">
                  <c:v>36754</c:v>
                </c:pt>
                <c:pt idx="671">
                  <c:v>36755</c:v>
                </c:pt>
                <c:pt idx="672">
                  <c:v>36756</c:v>
                </c:pt>
                <c:pt idx="673">
                  <c:v>36759</c:v>
                </c:pt>
                <c:pt idx="674">
                  <c:v>36760</c:v>
                </c:pt>
                <c:pt idx="675">
                  <c:v>36761</c:v>
                </c:pt>
                <c:pt idx="676">
                  <c:v>36762</c:v>
                </c:pt>
                <c:pt idx="677">
                  <c:v>36763</c:v>
                </c:pt>
                <c:pt idx="678">
                  <c:v>36766</c:v>
                </c:pt>
                <c:pt idx="679">
                  <c:v>36767</c:v>
                </c:pt>
                <c:pt idx="680">
                  <c:v>36768</c:v>
                </c:pt>
                <c:pt idx="681">
                  <c:v>36769</c:v>
                </c:pt>
                <c:pt idx="682">
                  <c:v>36770</c:v>
                </c:pt>
                <c:pt idx="683">
                  <c:v>36773</c:v>
                </c:pt>
                <c:pt idx="684">
                  <c:v>36774</c:v>
                </c:pt>
                <c:pt idx="685">
                  <c:v>36775</c:v>
                </c:pt>
                <c:pt idx="686">
                  <c:v>36776</c:v>
                </c:pt>
                <c:pt idx="687">
                  <c:v>36777</c:v>
                </c:pt>
                <c:pt idx="688">
                  <c:v>36780</c:v>
                </c:pt>
                <c:pt idx="689">
                  <c:v>36781</c:v>
                </c:pt>
                <c:pt idx="690">
                  <c:v>36782</c:v>
                </c:pt>
                <c:pt idx="691">
                  <c:v>36783</c:v>
                </c:pt>
                <c:pt idx="692">
                  <c:v>36784</c:v>
                </c:pt>
                <c:pt idx="693">
                  <c:v>36787</c:v>
                </c:pt>
                <c:pt idx="694">
                  <c:v>36788</c:v>
                </c:pt>
                <c:pt idx="695">
                  <c:v>36789</c:v>
                </c:pt>
                <c:pt idx="696">
                  <c:v>36790</c:v>
                </c:pt>
                <c:pt idx="697">
                  <c:v>36791</c:v>
                </c:pt>
                <c:pt idx="698">
                  <c:v>36794</c:v>
                </c:pt>
                <c:pt idx="699">
                  <c:v>36795</c:v>
                </c:pt>
                <c:pt idx="700">
                  <c:v>36796</c:v>
                </c:pt>
                <c:pt idx="701">
                  <c:v>36797</c:v>
                </c:pt>
                <c:pt idx="702">
                  <c:v>36798</c:v>
                </c:pt>
                <c:pt idx="703">
                  <c:v>36801</c:v>
                </c:pt>
                <c:pt idx="704">
                  <c:v>36802</c:v>
                </c:pt>
                <c:pt idx="705">
                  <c:v>36803</c:v>
                </c:pt>
                <c:pt idx="706">
                  <c:v>36804</c:v>
                </c:pt>
                <c:pt idx="707">
                  <c:v>36805</c:v>
                </c:pt>
                <c:pt idx="708">
                  <c:v>36808</c:v>
                </c:pt>
                <c:pt idx="709">
                  <c:v>36809</c:v>
                </c:pt>
                <c:pt idx="710">
                  <c:v>36810</c:v>
                </c:pt>
                <c:pt idx="711">
                  <c:v>36811</c:v>
                </c:pt>
                <c:pt idx="712">
                  <c:v>36812</c:v>
                </c:pt>
                <c:pt idx="713">
                  <c:v>36815</c:v>
                </c:pt>
                <c:pt idx="714">
                  <c:v>36816</c:v>
                </c:pt>
                <c:pt idx="715">
                  <c:v>36817</c:v>
                </c:pt>
                <c:pt idx="716">
                  <c:v>36818</c:v>
                </c:pt>
                <c:pt idx="717">
                  <c:v>36819</c:v>
                </c:pt>
                <c:pt idx="718">
                  <c:v>36822</c:v>
                </c:pt>
                <c:pt idx="719">
                  <c:v>36823</c:v>
                </c:pt>
                <c:pt idx="720">
                  <c:v>36824</c:v>
                </c:pt>
                <c:pt idx="721">
                  <c:v>36825</c:v>
                </c:pt>
                <c:pt idx="722">
                  <c:v>36826</c:v>
                </c:pt>
                <c:pt idx="723">
                  <c:v>36829</c:v>
                </c:pt>
                <c:pt idx="724">
                  <c:v>36830</c:v>
                </c:pt>
                <c:pt idx="725">
                  <c:v>36831</c:v>
                </c:pt>
                <c:pt idx="726">
                  <c:v>36832</c:v>
                </c:pt>
                <c:pt idx="727">
                  <c:v>36833</c:v>
                </c:pt>
                <c:pt idx="728">
                  <c:v>36836</c:v>
                </c:pt>
                <c:pt idx="729">
                  <c:v>36837</c:v>
                </c:pt>
                <c:pt idx="730">
                  <c:v>36838</c:v>
                </c:pt>
                <c:pt idx="731">
                  <c:v>36839</c:v>
                </c:pt>
                <c:pt idx="732">
                  <c:v>36840</c:v>
                </c:pt>
                <c:pt idx="733">
                  <c:v>36843</c:v>
                </c:pt>
                <c:pt idx="734">
                  <c:v>36844</c:v>
                </c:pt>
                <c:pt idx="735">
                  <c:v>36845</c:v>
                </c:pt>
                <c:pt idx="736">
                  <c:v>36846</c:v>
                </c:pt>
                <c:pt idx="737">
                  <c:v>36847</c:v>
                </c:pt>
                <c:pt idx="738">
                  <c:v>36850</c:v>
                </c:pt>
                <c:pt idx="739">
                  <c:v>36851</c:v>
                </c:pt>
                <c:pt idx="740">
                  <c:v>36852</c:v>
                </c:pt>
                <c:pt idx="741">
                  <c:v>36853</c:v>
                </c:pt>
                <c:pt idx="742">
                  <c:v>36854</c:v>
                </c:pt>
                <c:pt idx="743">
                  <c:v>36857</c:v>
                </c:pt>
                <c:pt idx="744">
                  <c:v>36858</c:v>
                </c:pt>
                <c:pt idx="745">
                  <c:v>36859</c:v>
                </c:pt>
                <c:pt idx="746">
                  <c:v>36860</c:v>
                </c:pt>
                <c:pt idx="747">
                  <c:v>36861</c:v>
                </c:pt>
                <c:pt idx="748">
                  <c:v>36864</c:v>
                </c:pt>
                <c:pt idx="749">
                  <c:v>36865</c:v>
                </c:pt>
                <c:pt idx="750">
                  <c:v>36866</c:v>
                </c:pt>
                <c:pt idx="751">
                  <c:v>36867</c:v>
                </c:pt>
                <c:pt idx="752">
                  <c:v>36868</c:v>
                </c:pt>
                <c:pt idx="753">
                  <c:v>36871</c:v>
                </c:pt>
                <c:pt idx="754">
                  <c:v>36872</c:v>
                </c:pt>
                <c:pt idx="755">
                  <c:v>36873</c:v>
                </c:pt>
                <c:pt idx="756">
                  <c:v>36874</c:v>
                </c:pt>
                <c:pt idx="757">
                  <c:v>36875</c:v>
                </c:pt>
                <c:pt idx="758">
                  <c:v>36878</c:v>
                </c:pt>
                <c:pt idx="759">
                  <c:v>36879</c:v>
                </c:pt>
                <c:pt idx="760">
                  <c:v>36880</c:v>
                </c:pt>
                <c:pt idx="761">
                  <c:v>36881</c:v>
                </c:pt>
                <c:pt idx="762">
                  <c:v>36882</c:v>
                </c:pt>
                <c:pt idx="763">
                  <c:v>36886</c:v>
                </c:pt>
                <c:pt idx="764">
                  <c:v>36887</c:v>
                </c:pt>
                <c:pt idx="765">
                  <c:v>36888</c:v>
                </c:pt>
                <c:pt idx="766">
                  <c:v>36889</c:v>
                </c:pt>
                <c:pt idx="767">
                  <c:v>36893</c:v>
                </c:pt>
                <c:pt idx="768">
                  <c:v>36894</c:v>
                </c:pt>
                <c:pt idx="769">
                  <c:v>36895</c:v>
                </c:pt>
                <c:pt idx="770">
                  <c:v>36896</c:v>
                </c:pt>
                <c:pt idx="771">
                  <c:v>36899</c:v>
                </c:pt>
                <c:pt idx="772">
                  <c:v>36900</c:v>
                </c:pt>
                <c:pt idx="773">
                  <c:v>36901</c:v>
                </c:pt>
                <c:pt idx="774">
                  <c:v>36902</c:v>
                </c:pt>
                <c:pt idx="775">
                  <c:v>36903</c:v>
                </c:pt>
                <c:pt idx="776">
                  <c:v>36906</c:v>
                </c:pt>
                <c:pt idx="777">
                  <c:v>36907</c:v>
                </c:pt>
                <c:pt idx="778">
                  <c:v>36908</c:v>
                </c:pt>
                <c:pt idx="779">
                  <c:v>36909</c:v>
                </c:pt>
                <c:pt idx="780">
                  <c:v>36910</c:v>
                </c:pt>
                <c:pt idx="781">
                  <c:v>36913</c:v>
                </c:pt>
                <c:pt idx="782">
                  <c:v>36914</c:v>
                </c:pt>
                <c:pt idx="783">
                  <c:v>36915</c:v>
                </c:pt>
                <c:pt idx="784">
                  <c:v>36916</c:v>
                </c:pt>
                <c:pt idx="785">
                  <c:v>36917</c:v>
                </c:pt>
                <c:pt idx="786">
                  <c:v>36920</c:v>
                </c:pt>
                <c:pt idx="787">
                  <c:v>36921</c:v>
                </c:pt>
                <c:pt idx="788">
                  <c:v>36922</c:v>
                </c:pt>
                <c:pt idx="789">
                  <c:v>36923</c:v>
                </c:pt>
                <c:pt idx="790">
                  <c:v>36924</c:v>
                </c:pt>
                <c:pt idx="791">
                  <c:v>36927</c:v>
                </c:pt>
                <c:pt idx="792">
                  <c:v>36928</c:v>
                </c:pt>
                <c:pt idx="793">
                  <c:v>36929</c:v>
                </c:pt>
                <c:pt idx="794">
                  <c:v>36930</c:v>
                </c:pt>
                <c:pt idx="795">
                  <c:v>36931</c:v>
                </c:pt>
                <c:pt idx="796">
                  <c:v>36934</c:v>
                </c:pt>
                <c:pt idx="797">
                  <c:v>36935</c:v>
                </c:pt>
                <c:pt idx="798">
                  <c:v>36936</c:v>
                </c:pt>
                <c:pt idx="799">
                  <c:v>36937</c:v>
                </c:pt>
                <c:pt idx="800">
                  <c:v>36938</c:v>
                </c:pt>
                <c:pt idx="801">
                  <c:v>36941</c:v>
                </c:pt>
                <c:pt idx="802">
                  <c:v>36942</c:v>
                </c:pt>
                <c:pt idx="803">
                  <c:v>36943</c:v>
                </c:pt>
                <c:pt idx="804">
                  <c:v>36944</c:v>
                </c:pt>
                <c:pt idx="805">
                  <c:v>36945</c:v>
                </c:pt>
                <c:pt idx="806">
                  <c:v>36948</c:v>
                </c:pt>
                <c:pt idx="807">
                  <c:v>36949</c:v>
                </c:pt>
                <c:pt idx="808">
                  <c:v>36950</c:v>
                </c:pt>
                <c:pt idx="809">
                  <c:v>36951</c:v>
                </c:pt>
                <c:pt idx="810">
                  <c:v>36952</c:v>
                </c:pt>
                <c:pt idx="811">
                  <c:v>36955</c:v>
                </c:pt>
                <c:pt idx="812">
                  <c:v>36956</c:v>
                </c:pt>
                <c:pt idx="813">
                  <c:v>36957</c:v>
                </c:pt>
                <c:pt idx="814">
                  <c:v>36958</c:v>
                </c:pt>
                <c:pt idx="815">
                  <c:v>36959</c:v>
                </c:pt>
                <c:pt idx="816">
                  <c:v>36962</c:v>
                </c:pt>
                <c:pt idx="817">
                  <c:v>36963</c:v>
                </c:pt>
                <c:pt idx="818">
                  <c:v>36964</c:v>
                </c:pt>
                <c:pt idx="819">
                  <c:v>36965</c:v>
                </c:pt>
                <c:pt idx="820">
                  <c:v>36966</c:v>
                </c:pt>
                <c:pt idx="821">
                  <c:v>36969</c:v>
                </c:pt>
                <c:pt idx="822">
                  <c:v>36970</c:v>
                </c:pt>
                <c:pt idx="823">
                  <c:v>36971</c:v>
                </c:pt>
                <c:pt idx="824">
                  <c:v>36972</c:v>
                </c:pt>
                <c:pt idx="825">
                  <c:v>36973</c:v>
                </c:pt>
                <c:pt idx="826">
                  <c:v>36976</c:v>
                </c:pt>
                <c:pt idx="827">
                  <c:v>36977</c:v>
                </c:pt>
                <c:pt idx="828">
                  <c:v>36978</c:v>
                </c:pt>
                <c:pt idx="829">
                  <c:v>36979</c:v>
                </c:pt>
                <c:pt idx="830">
                  <c:v>36980</c:v>
                </c:pt>
                <c:pt idx="831">
                  <c:v>36983</c:v>
                </c:pt>
                <c:pt idx="832">
                  <c:v>36984</c:v>
                </c:pt>
                <c:pt idx="833">
                  <c:v>36985</c:v>
                </c:pt>
                <c:pt idx="834">
                  <c:v>36986</c:v>
                </c:pt>
                <c:pt idx="835">
                  <c:v>36987</c:v>
                </c:pt>
                <c:pt idx="836">
                  <c:v>36990</c:v>
                </c:pt>
                <c:pt idx="837">
                  <c:v>36991</c:v>
                </c:pt>
                <c:pt idx="838">
                  <c:v>36992</c:v>
                </c:pt>
                <c:pt idx="839">
                  <c:v>36993</c:v>
                </c:pt>
                <c:pt idx="840">
                  <c:v>36994</c:v>
                </c:pt>
                <c:pt idx="841">
                  <c:v>36997</c:v>
                </c:pt>
                <c:pt idx="842">
                  <c:v>36998</c:v>
                </c:pt>
                <c:pt idx="843">
                  <c:v>36999</c:v>
                </c:pt>
                <c:pt idx="844">
                  <c:v>37000</c:v>
                </c:pt>
                <c:pt idx="845">
                  <c:v>37001</c:v>
                </c:pt>
                <c:pt idx="846">
                  <c:v>37004</c:v>
                </c:pt>
                <c:pt idx="847">
                  <c:v>37005</c:v>
                </c:pt>
                <c:pt idx="848">
                  <c:v>37006</c:v>
                </c:pt>
                <c:pt idx="849">
                  <c:v>37007</c:v>
                </c:pt>
                <c:pt idx="850">
                  <c:v>37008</c:v>
                </c:pt>
                <c:pt idx="851">
                  <c:v>37011</c:v>
                </c:pt>
                <c:pt idx="852">
                  <c:v>37012</c:v>
                </c:pt>
                <c:pt idx="853">
                  <c:v>37013</c:v>
                </c:pt>
                <c:pt idx="854">
                  <c:v>37014</c:v>
                </c:pt>
                <c:pt idx="855">
                  <c:v>37015</c:v>
                </c:pt>
                <c:pt idx="856">
                  <c:v>37018</c:v>
                </c:pt>
                <c:pt idx="857">
                  <c:v>37019</c:v>
                </c:pt>
                <c:pt idx="858">
                  <c:v>37020</c:v>
                </c:pt>
                <c:pt idx="859">
                  <c:v>37021</c:v>
                </c:pt>
                <c:pt idx="860">
                  <c:v>37022</c:v>
                </c:pt>
                <c:pt idx="861">
                  <c:v>37025</c:v>
                </c:pt>
                <c:pt idx="862">
                  <c:v>37026</c:v>
                </c:pt>
                <c:pt idx="863">
                  <c:v>37027</c:v>
                </c:pt>
                <c:pt idx="864">
                  <c:v>37028</c:v>
                </c:pt>
                <c:pt idx="865">
                  <c:v>37029</c:v>
                </c:pt>
                <c:pt idx="866">
                  <c:v>37032</c:v>
                </c:pt>
                <c:pt idx="867">
                  <c:v>37033</c:v>
                </c:pt>
                <c:pt idx="868">
                  <c:v>37034</c:v>
                </c:pt>
                <c:pt idx="869">
                  <c:v>37035</c:v>
                </c:pt>
                <c:pt idx="870">
                  <c:v>37036</c:v>
                </c:pt>
                <c:pt idx="871">
                  <c:v>37040</c:v>
                </c:pt>
                <c:pt idx="872">
                  <c:v>37041</c:v>
                </c:pt>
                <c:pt idx="873">
                  <c:v>37042</c:v>
                </c:pt>
                <c:pt idx="874">
                  <c:v>37043</c:v>
                </c:pt>
                <c:pt idx="875">
                  <c:v>37046</c:v>
                </c:pt>
                <c:pt idx="876">
                  <c:v>37047</c:v>
                </c:pt>
                <c:pt idx="877">
                  <c:v>37048</c:v>
                </c:pt>
                <c:pt idx="878">
                  <c:v>37049</c:v>
                </c:pt>
                <c:pt idx="879">
                  <c:v>37050</c:v>
                </c:pt>
                <c:pt idx="880">
                  <c:v>37053</c:v>
                </c:pt>
                <c:pt idx="881">
                  <c:v>37054</c:v>
                </c:pt>
                <c:pt idx="882">
                  <c:v>37055</c:v>
                </c:pt>
                <c:pt idx="883">
                  <c:v>37056</c:v>
                </c:pt>
                <c:pt idx="884">
                  <c:v>37057</c:v>
                </c:pt>
                <c:pt idx="885">
                  <c:v>37060</c:v>
                </c:pt>
                <c:pt idx="886">
                  <c:v>37061</c:v>
                </c:pt>
                <c:pt idx="887">
                  <c:v>37062</c:v>
                </c:pt>
                <c:pt idx="888">
                  <c:v>37063</c:v>
                </c:pt>
                <c:pt idx="889">
                  <c:v>37064</c:v>
                </c:pt>
                <c:pt idx="890">
                  <c:v>37067</c:v>
                </c:pt>
                <c:pt idx="891">
                  <c:v>37068</c:v>
                </c:pt>
                <c:pt idx="892">
                  <c:v>37069</c:v>
                </c:pt>
                <c:pt idx="893">
                  <c:v>37070</c:v>
                </c:pt>
                <c:pt idx="894">
                  <c:v>37071</c:v>
                </c:pt>
                <c:pt idx="895">
                  <c:v>37074</c:v>
                </c:pt>
                <c:pt idx="896">
                  <c:v>37075</c:v>
                </c:pt>
                <c:pt idx="897">
                  <c:v>37076</c:v>
                </c:pt>
                <c:pt idx="898">
                  <c:v>37077</c:v>
                </c:pt>
                <c:pt idx="899">
                  <c:v>37078</c:v>
                </c:pt>
                <c:pt idx="900">
                  <c:v>37081</c:v>
                </c:pt>
                <c:pt idx="901">
                  <c:v>37082</c:v>
                </c:pt>
                <c:pt idx="902">
                  <c:v>37083</c:v>
                </c:pt>
                <c:pt idx="903">
                  <c:v>37084</c:v>
                </c:pt>
                <c:pt idx="904">
                  <c:v>37085</c:v>
                </c:pt>
                <c:pt idx="905">
                  <c:v>37088</c:v>
                </c:pt>
                <c:pt idx="906">
                  <c:v>37089</c:v>
                </c:pt>
                <c:pt idx="907">
                  <c:v>37090</c:v>
                </c:pt>
                <c:pt idx="908">
                  <c:v>37091</c:v>
                </c:pt>
                <c:pt idx="909">
                  <c:v>37092</c:v>
                </c:pt>
                <c:pt idx="910">
                  <c:v>37095</c:v>
                </c:pt>
                <c:pt idx="911">
                  <c:v>37096</c:v>
                </c:pt>
                <c:pt idx="912">
                  <c:v>37097</c:v>
                </c:pt>
                <c:pt idx="913">
                  <c:v>37098</c:v>
                </c:pt>
                <c:pt idx="914">
                  <c:v>37099</c:v>
                </c:pt>
                <c:pt idx="915">
                  <c:v>37102</c:v>
                </c:pt>
                <c:pt idx="916">
                  <c:v>37103</c:v>
                </c:pt>
                <c:pt idx="917">
                  <c:v>37104</c:v>
                </c:pt>
                <c:pt idx="918">
                  <c:v>37105</c:v>
                </c:pt>
                <c:pt idx="919">
                  <c:v>37106</c:v>
                </c:pt>
                <c:pt idx="920">
                  <c:v>37109</c:v>
                </c:pt>
                <c:pt idx="921">
                  <c:v>37110</c:v>
                </c:pt>
                <c:pt idx="922">
                  <c:v>37111</c:v>
                </c:pt>
                <c:pt idx="923">
                  <c:v>37112</c:v>
                </c:pt>
                <c:pt idx="924">
                  <c:v>37113</c:v>
                </c:pt>
                <c:pt idx="925">
                  <c:v>37116</c:v>
                </c:pt>
                <c:pt idx="926">
                  <c:v>37117</c:v>
                </c:pt>
                <c:pt idx="927">
                  <c:v>37118</c:v>
                </c:pt>
                <c:pt idx="928">
                  <c:v>37119</c:v>
                </c:pt>
                <c:pt idx="929">
                  <c:v>37120</c:v>
                </c:pt>
                <c:pt idx="930">
                  <c:v>37123</c:v>
                </c:pt>
                <c:pt idx="931">
                  <c:v>37124</c:v>
                </c:pt>
                <c:pt idx="932">
                  <c:v>37125</c:v>
                </c:pt>
                <c:pt idx="933">
                  <c:v>37126</c:v>
                </c:pt>
                <c:pt idx="934">
                  <c:v>37127</c:v>
                </c:pt>
                <c:pt idx="935">
                  <c:v>37130</c:v>
                </c:pt>
                <c:pt idx="936">
                  <c:v>37131</c:v>
                </c:pt>
                <c:pt idx="937">
                  <c:v>37132</c:v>
                </c:pt>
                <c:pt idx="938">
                  <c:v>37133</c:v>
                </c:pt>
                <c:pt idx="939">
                  <c:v>37134</c:v>
                </c:pt>
                <c:pt idx="940">
                  <c:v>37137</c:v>
                </c:pt>
                <c:pt idx="941">
                  <c:v>37138</c:v>
                </c:pt>
                <c:pt idx="942">
                  <c:v>37139</c:v>
                </c:pt>
                <c:pt idx="943">
                  <c:v>37140</c:v>
                </c:pt>
                <c:pt idx="944">
                  <c:v>37141</c:v>
                </c:pt>
                <c:pt idx="945">
                  <c:v>37144</c:v>
                </c:pt>
                <c:pt idx="946">
                  <c:v>37145</c:v>
                </c:pt>
                <c:pt idx="947">
                  <c:v>37146</c:v>
                </c:pt>
                <c:pt idx="948">
                  <c:v>37147</c:v>
                </c:pt>
                <c:pt idx="949">
                  <c:v>37148</c:v>
                </c:pt>
                <c:pt idx="950">
                  <c:v>37151</c:v>
                </c:pt>
                <c:pt idx="951">
                  <c:v>37152</c:v>
                </c:pt>
                <c:pt idx="952">
                  <c:v>37153</c:v>
                </c:pt>
                <c:pt idx="953">
                  <c:v>37154</c:v>
                </c:pt>
                <c:pt idx="954">
                  <c:v>37155</c:v>
                </c:pt>
                <c:pt idx="955">
                  <c:v>37158</c:v>
                </c:pt>
                <c:pt idx="956">
                  <c:v>37159</c:v>
                </c:pt>
                <c:pt idx="957">
                  <c:v>37160</c:v>
                </c:pt>
                <c:pt idx="958">
                  <c:v>37161</c:v>
                </c:pt>
                <c:pt idx="959">
                  <c:v>37162</c:v>
                </c:pt>
                <c:pt idx="960">
                  <c:v>37165</c:v>
                </c:pt>
                <c:pt idx="961">
                  <c:v>37166</c:v>
                </c:pt>
                <c:pt idx="962">
                  <c:v>37167</c:v>
                </c:pt>
                <c:pt idx="963">
                  <c:v>37168</c:v>
                </c:pt>
                <c:pt idx="964">
                  <c:v>37169</c:v>
                </c:pt>
                <c:pt idx="965">
                  <c:v>37172</c:v>
                </c:pt>
                <c:pt idx="966">
                  <c:v>37173</c:v>
                </c:pt>
                <c:pt idx="967">
                  <c:v>37174</c:v>
                </c:pt>
                <c:pt idx="968">
                  <c:v>37175</c:v>
                </c:pt>
                <c:pt idx="969">
                  <c:v>37176</c:v>
                </c:pt>
                <c:pt idx="970">
                  <c:v>37179</c:v>
                </c:pt>
                <c:pt idx="971">
                  <c:v>37180</c:v>
                </c:pt>
                <c:pt idx="972">
                  <c:v>37181</c:v>
                </c:pt>
                <c:pt idx="973">
                  <c:v>37182</c:v>
                </c:pt>
                <c:pt idx="974">
                  <c:v>37183</c:v>
                </c:pt>
                <c:pt idx="975">
                  <c:v>37186</c:v>
                </c:pt>
                <c:pt idx="976">
                  <c:v>37187</c:v>
                </c:pt>
                <c:pt idx="977">
                  <c:v>37188</c:v>
                </c:pt>
                <c:pt idx="978">
                  <c:v>37189</c:v>
                </c:pt>
                <c:pt idx="979">
                  <c:v>37190</c:v>
                </c:pt>
                <c:pt idx="980">
                  <c:v>37193</c:v>
                </c:pt>
                <c:pt idx="981">
                  <c:v>37194</c:v>
                </c:pt>
                <c:pt idx="982">
                  <c:v>37195</c:v>
                </c:pt>
                <c:pt idx="983">
                  <c:v>37196</c:v>
                </c:pt>
                <c:pt idx="984">
                  <c:v>37197</c:v>
                </c:pt>
                <c:pt idx="985">
                  <c:v>37200</c:v>
                </c:pt>
                <c:pt idx="986">
                  <c:v>37201</c:v>
                </c:pt>
                <c:pt idx="987">
                  <c:v>37202</c:v>
                </c:pt>
                <c:pt idx="988">
                  <c:v>37203</c:v>
                </c:pt>
                <c:pt idx="989">
                  <c:v>37204</c:v>
                </c:pt>
                <c:pt idx="990">
                  <c:v>37207</c:v>
                </c:pt>
                <c:pt idx="991">
                  <c:v>37208</c:v>
                </c:pt>
                <c:pt idx="992">
                  <c:v>37209</c:v>
                </c:pt>
                <c:pt idx="993">
                  <c:v>37210</c:v>
                </c:pt>
                <c:pt idx="994">
                  <c:v>37211</c:v>
                </c:pt>
                <c:pt idx="995">
                  <c:v>37214</c:v>
                </c:pt>
                <c:pt idx="996">
                  <c:v>37215</c:v>
                </c:pt>
                <c:pt idx="997">
                  <c:v>37216</c:v>
                </c:pt>
                <c:pt idx="998">
                  <c:v>37217</c:v>
                </c:pt>
                <c:pt idx="999">
                  <c:v>37218</c:v>
                </c:pt>
                <c:pt idx="1000">
                  <c:v>37221</c:v>
                </c:pt>
                <c:pt idx="1001">
                  <c:v>37222</c:v>
                </c:pt>
                <c:pt idx="1002">
                  <c:v>37223</c:v>
                </c:pt>
                <c:pt idx="1003">
                  <c:v>37224</c:v>
                </c:pt>
                <c:pt idx="1004">
                  <c:v>37225</c:v>
                </c:pt>
                <c:pt idx="1005">
                  <c:v>37228</c:v>
                </c:pt>
                <c:pt idx="1006">
                  <c:v>37229</c:v>
                </c:pt>
                <c:pt idx="1007">
                  <c:v>37230</c:v>
                </c:pt>
                <c:pt idx="1008">
                  <c:v>37231</c:v>
                </c:pt>
                <c:pt idx="1009">
                  <c:v>37232</c:v>
                </c:pt>
                <c:pt idx="1010">
                  <c:v>37235</c:v>
                </c:pt>
                <c:pt idx="1011">
                  <c:v>37236</c:v>
                </c:pt>
                <c:pt idx="1012">
                  <c:v>37237</c:v>
                </c:pt>
                <c:pt idx="1013">
                  <c:v>37238</c:v>
                </c:pt>
                <c:pt idx="1014">
                  <c:v>37239</c:v>
                </c:pt>
                <c:pt idx="1015">
                  <c:v>37242</c:v>
                </c:pt>
                <c:pt idx="1016">
                  <c:v>37243</c:v>
                </c:pt>
                <c:pt idx="1017">
                  <c:v>37244</c:v>
                </c:pt>
                <c:pt idx="1018">
                  <c:v>37245</c:v>
                </c:pt>
                <c:pt idx="1019">
                  <c:v>37246</c:v>
                </c:pt>
                <c:pt idx="1020">
                  <c:v>37249</c:v>
                </c:pt>
                <c:pt idx="1021">
                  <c:v>37251</c:v>
                </c:pt>
                <c:pt idx="1022">
                  <c:v>37252</c:v>
                </c:pt>
                <c:pt idx="1023">
                  <c:v>37253</c:v>
                </c:pt>
                <c:pt idx="1024">
                  <c:v>37256</c:v>
                </c:pt>
                <c:pt idx="1025">
                  <c:v>37258</c:v>
                </c:pt>
                <c:pt idx="1026">
                  <c:v>37259</c:v>
                </c:pt>
                <c:pt idx="1027">
                  <c:v>37260</c:v>
                </c:pt>
                <c:pt idx="1028">
                  <c:v>37263</c:v>
                </c:pt>
                <c:pt idx="1029">
                  <c:v>37264</c:v>
                </c:pt>
                <c:pt idx="1030">
                  <c:v>37265</c:v>
                </c:pt>
                <c:pt idx="1031">
                  <c:v>37266</c:v>
                </c:pt>
                <c:pt idx="1032">
                  <c:v>37267</c:v>
                </c:pt>
                <c:pt idx="1033">
                  <c:v>37270</c:v>
                </c:pt>
                <c:pt idx="1034">
                  <c:v>37271</c:v>
                </c:pt>
                <c:pt idx="1035">
                  <c:v>37272</c:v>
                </c:pt>
                <c:pt idx="1036">
                  <c:v>37273</c:v>
                </c:pt>
                <c:pt idx="1037">
                  <c:v>37274</c:v>
                </c:pt>
                <c:pt idx="1038">
                  <c:v>37277</c:v>
                </c:pt>
                <c:pt idx="1039">
                  <c:v>37278</c:v>
                </c:pt>
                <c:pt idx="1040">
                  <c:v>37279</c:v>
                </c:pt>
                <c:pt idx="1041">
                  <c:v>37280</c:v>
                </c:pt>
                <c:pt idx="1042">
                  <c:v>37281</c:v>
                </c:pt>
                <c:pt idx="1043">
                  <c:v>37284</c:v>
                </c:pt>
                <c:pt idx="1044">
                  <c:v>37285</c:v>
                </c:pt>
                <c:pt idx="1045">
                  <c:v>37286</c:v>
                </c:pt>
                <c:pt idx="1046">
                  <c:v>37287</c:v>
                </c:pt>
                <c:pt idx="1047">
                  <c:v>37288</c:v>
                </c:pt>
                <c:pt idx="1048">
                  <c:v>37291</c:v>
                </c:pt>
                <c:pt idx="1049">
                  <c:v>37292</c:v>
                </c:pt>
                <c:pt idx="1050">
                  <c:v>37293</c:v>
                </c:pt>
                <c:pt idx="1051">
                  <c:v>37294</c:v>
                </c:pt>
                <c:pt idx="1052">
                  <c:v>37295</c:v>
                </c:pt>
                <c:pt idx="1053">
                  <c:v>37298</c:v>
                </c:pt>
                <c:pt idx="1054">
                  <c:v>37299</c:v>
                </c:pt>
                <c:pt idx="1055">
                  <c:v>37300</c:v>
                </c:pt>
                <c:pt idx="1056">
                  <c:v>37301</c:v>
                </c:pt>
                <c:pt idx="1057">
                  <c:v>37302</c:v>
                </c:pt>
                <c:pt idx="1058">
                  <c:v>37305</c:v>
                </c:pt>
                <c:pt idx="1059">
                  <c:v>37306</c:v>
                </c:pt>
                <c:pt idx="1060">
                  <c:v>37307</c:v>
                </c:pt>
                <c:pt idx="1061">
                  <c:v>37308</c:v>
                </c:pt>
                <c:pt idx="1062">
                  <c:v>37309</c:v>
                </c:pt>
                <c:pt idx="1063">
                  <c:v>37312</c:v>
                </c:pt>
                <c:pt idx="1064">
                  <c:v>37313</c:v>
                </c:pt>
                <c:pt idx="1065">
                  <c:v>37314</c:v>
                </c:pt>
                <c:pt idx="1066">
                  <c:v>37315</c:v>
                </c:pt>
                <c:pt idx="1067">
                  <c:v>37316</c:v>
                </c:pt>
                <c:pt idx="1068">
                  <c:v>37319</c:v>
                </c:pt>
                <c:pt idx="1069">
                  <c:v>37320</c:v>
                </c:pt>
                <c:pt idx="1070">
                  <c:v>37321</c:v>
                </c:pt>
                <c:pt idx="1071">
                  <c:v>37322</c:v>
                </c:pt>
                <c:pt idx="1072">
                  <c:v>37323</c:v>
                </c:pt>
                <c:pt idx="1073">
                  <c:v>37326</c:v>
                </c:pt>
                <c:pt idx="1074">
                  <c:v>37327</c:v>
                </c:pt>
                <c:pt idx="1075">
                  <c:v>37328</c:v>
                </c:pt>
                <c:pt idx="1076">
                  <c:v>37329</c:v>
                </c:pt>
                <c:pt idx="1077">
                  <c:v>37330</c:v>
                </c:pt>
                <c:pt idx="1078">
                  <c:v>37333</c:v>
                </c:pt>
                <c:pt idx="1079">
                  <c:v>37334</c:v>
                </c:pt>
                <c:pt idx="1080">
                  <c:v>37335</c:v>
                </c:pt>
                <c:pt idx="1081">
                  <c:v>37336</c:v>
                </c:pt>
                <c:pt idx="1082">
                  <c:v>37337</c:v>
                </c:pt>
                <c:pt idx="1083">
                  <c:v>37340</c:v>
                </c:pt>
                <c:pt idx="1084">
                  <c:v>37341</c:v>
                </c:pt>
                <c:pt idx="1085">
                  <c:v>37342</c:v>
                </c:pt>
                <c:pt idx="1086">
                  <c:v>37343</c:v>
                </c:pt>
                <c:pt idx="1087">
                  <c:v>37344</c:v>
                </c:pt>
                <c:pt idx="1088">
                  <c:v>37347</c:v>
                </c:pt>
                <c:pt idx="1089">
                  <c:v>37348</c:v>
                </c:pt>
                <c:pt idx="1090">
                  <c:v>37349</c:v>
                </c:pt>
                <c:pt idx="1091">
                  <c:v>37350</c:v>
                </c:pt>
                <c:pt idx="1092">
                  <c:v>37351</c:v>
                </c:pt>
                <c:pt idx="1093">
                  <c:v>37354</c:v>
                </c:pt>
                <c:pt idx="1094">
                  <c:v>37355</c:v>
                </c:pt>
                <c:pt idx="1095">
                  <c:v>37356</c:v>
                </c:pt>
                <c:pt idx="1096">
                  <c:v>37357</c:v>
                </c:pt>
                <c:pt idx="1097">
                  <c:v>37358</c:v>
                </c:pt>
                <c:pt idx="1098">
                  <c:v>37361</c:v>
                </c:pt>
                <c:pt idx="1099">
                  <c:v>37362</c:v>
                </c:pt>
                <c:pt idx="1100">
                  <c:v>37363</c:v>
                </c:pt>
                <c:pt idx="1101">
                  <c:v>37364</c:v>
                </c:pt>
                <c:pt idx="1102">
                  <c:v>37365</c:v>
                </c:pt>
                <c:pt idx="1103">
                  <c:v>37368</c:v>
                </c:pt>
                <c:pt idx="1104">
                  <c:v>37369</c:v>
                </c:pt>
                <c:pt idx="1105">
                  <c:v>37370</c:v>
                </c:pt>
                <c:pt idx="1106">
                  <c:v>37371</c:v>
                </c:pt>
                <c:pt idx="1107">
                  <c:v>37372</c:v>
                </c:pt>
                <c:pt idx="1108">
                  <c:v>37375</c:v>
                </c:pt>
                <c:pt idx="1109">
                  <c:v>37376</c:v>
                </c:pt>
                <c:pt idx="1110">
                  <c:v>37377</c:v>
                </c:pt>
                <c:pt idx="1111">
                  <c:v>37378</c:v>
                </c:pt>
                <c:pt idx="1112">
                  <c:v>37379</c:v>
                </c:pt>
                <c:pt idx="1113">
                  <c:v>37382</c:v>
                </c:pt>
                <c:pt idx="1114">
                  <c:v>37383</c:v>
                </c:pt>
                <c:pt idx="1115">
                  <c:v>37384</c:v>
                </c:pt>
                <c:pt idx="1116">
                  <c:v>37385</c:v>
                </c:pt>
                <c:pt idx="1117">
                  <c:v>37386</c:v>
                </c:pt>
                <c:pt idx="1118">
                  <c:v>37389</c:v>
                </c:pt>
                <c:pt idx="1119">
                  <c:v>37390</c:v>
                </c:pt>
                <c:pt idx="1120">
                  <c:v>37391</c:v>
                </c:pt>
                <c:pt idx="1121">
                  <c:v>37392</c:v>
                </c:pt>
                <c:pt idx="1122">
                  <c:v>37393</c:v>
                </c:pt>
                <c:pt idx="1123">
                  <c:v>37396</c:v>
                </c:pt>
                <c:pt idx="1124">
                  <c:v>37397</c:v>
                </c:pt>
                <c:pt idx="1125">
                  <c:v>37398</c:v>
                </c:pt>
                <c:pt idx="1126">
                  <c:v>37399</c:v>
                </c:pt>
                <c:pt idx="1127">
                  <c:v>37400</c:v>
                </c:pt>
                <c:pt idx="1128">
                  <c:v>37403</c:v>
                </c:pt>
                <c:pt idx="1129">
                  <c:v>37404</c:v>
                </c:pt>
                <c:pt idx="1130">
                  <c:v>37405</c:v>
                </c:pt>
                <c:pt idx="1131">
                  <c:v>37406</c:v>
                </c:pt>
                <c:pt idx="1132">
                  <c:v>37407</c:v>
                </c:pt>
                <c:pt idx="1133">
                  <c:v>37410</c:v>
                </c:pt>
                <c:pt idx="1134">
                  <c:v>37411</c:v>
                </c:pt>
                <c:pt idx="1135">
                  <c:v>37412</c:v>
                </c:pt>
                <c:pt idx="1136">
                  <c:v>37413</c:v>
                </c:pt>
                <c:pt idx="1137">
                  <c:v>37414</c:v>
                </c:pt>
                <c:pt idx="1138">
                  <c:v>37417</c:v>
                </c:pt>
                <c:pt idx="1139">
                  <c:v>37418</c:v>
                </c:pt>
                <c:pt idx="1140">
                  <c:v>37419</c:v>
                </c:pt>
                <c:pt idx="1141">
                  <c:v>37420</c:v>
                </c:pt>
                <c:pt idx="1142">
                  <c:v>37421</c:v>
                </c:pt>
                <c:pt idx="1143">
                  <c:v>37424</c:v>
                </c:pt>
                <c:pt idx="1144">
                  <c:v>37425</c:v>
                </c:pt>
                <c:pt idx="1145">
                  <c:v>37426</c:v>
                </c:pt>
                <c:pt idx="1146">
                  <c:v>37427</c:v>
                </c:pt>
                <c:pt idx="1147">
                  <c:v>37428</c:v>
                </c:pt>
                <c:pt idx="1148">
                  <c:v>37431</c:v>
                </c:pt>
                <c:pt idx="1149">
                  <c:v>37432</c:v>
                </c:pt>
                <c:pt idx="1150">
                  <c:v>37433</c:v>
                </c:pt>
                <c:pt idx="1151">
                  <c:v>37434</c:v>
                </c:pt>
                <c:pt idx="1152">
                  <c:v>37435</c:v>
                </c:pt>
                <c:pt idx="1153">
                  <c:v>37438</c:v>
                </c:pt>
                <c:pt idx="1154">
                  <c:v>37439</c:v>
                </c:pt>
                <c:pt idx="1155">
                  <c:v>37440</c:v>
                </c:pt>
                <c:pt idx="1156">
                  <c:v>37441</c:v>
                </c:pt>
                <c:pt idx="1157">
                  <c:v>37442</c:v>
                </c:pt>
                <c:pt idx="1158">
                  <c:v>37445</c:v>
                </c:pt>
                <c:pt idx="1159">
                  <c:v>37446</c:v>
                </c:pt>
                <c:pt idx="1160">
                  <c:v>37447</c:v>
                </c:pt>
                <c:pt idx="1161">
                  <c:v>37448</c:v>
                </c:pt>
                <c:pt idx="1162">
                  <c:v>37449</c:v>
                </c:pt>
                <c:pt idx="1163">
                  <c:v>37452</c:v>
                </c:pt>
                <c:pt idx="1164">
                  <c:v>37453</c:v>
                </c:pt>
                <c:pt idx="1165">
                  <c:v>37454</c:v>
                </c:pt>
                <c:pt idx="1166">
                  <c:v>37455</c:v>
                </c:pt>
                <c:pt idx="1167">
                  <c:v>37456</c:v>
                </c:pt>
                <c:pt idx="1168">
                  <c:v>37459</c:v>
                </c:pt>
                <c:pt idx="1169">
                  <c:v>37460</c:v>
                </c:pt>
                <c:pt idx="1170">
                  <c:v>37461</c:v>
                </c:pt>
                <c:pt idx="1171">
                  <c:v>37462</c:v>
                </c:pt>
                <c:pt idx="1172">
                  <c:v>37463</c:v>
                </c:pt>
                <c:pt idx="1173">
                  <c:v>37466</c:v>
                </c:pt>
                <c:pt idx="1174">
                  <c:v>37467</c:v>
                </c:pt>
                <c:pt idx="1175">
                  <c:v>37468</c:v>
                </c:pt>
                <c:pt idx="1176">
                  <c:v>37469</c:v>
                </c:pt>
                <c:pt idx="1177">
                  <c:v>37470</c:v>
                </c:pt>
                <c:pt idx="1178">
                  <c:v>37473</c:v>
                </c:pt>
                <c:pt idx="1179">
                  <c:v>37474</c:v>
                </c:pt>
                <c:pt idx="1180">
                  <c:v>37475</c:v>
                </c:pt>
                <c:pt idx="1181">
                  <c:v>37476</c:v>
                </c:pt>
                <c:pt idx="1182">
                  <c:v>37477</c:v>
                </c:pt>
                <c:pt idx="1183">
                  <c:v>37480</c:v>
                </c:pt>
                <c:pt idx="1184">
                  <c:v>37481</c:v>
                </c:pt>
                <c:pt idx="1185">
                  <c:v>37482</c:v>
                </c:pt>
                <c:pt idx="1186">
                  <c:v>37483</c:v>
                </c:pt>
                <c:pt idx="1187">
                  <c:v>37484</c:v>
                </c:pt>
                <c:pt idx="1188">
                  <c:v>37487</c:v>
                </c:pt>
                <c:pt idx="1189">
                  <c:v>37488</c:v>
                </c:pt>
                <c:pt idx="1190">
                  <c:v>37489</c:v>
                </c:pt>
                <c:pt idx="1191">
                  <c:v>37490</c:v>
                </c:pt>
                <c:pt idx="1192">
                  <c:v>37491</c:v>
                </c:pt>
                <c:pt idx="1193">
                  <c:v>37494</c:v>
                </c:pt>
                <c:pt idx="1194">
                  <c:v>37495</c:v>
                </c:pt>
                <c:pt idx="1195">
                  <c:v>37496</c:v>
                </c:pt>
                <c:pt idx="1196">
                  <c:v>37497</c:v>
                </c:pt>
                <c:pt idx="1197">
                  <c:v>37498</c:v>
                </c:pt>
                <c:pt idx="1198">
                  <c:v>37501</c:v>
                </c:pt>
                <c:pt idx="1199">
                  <c:v>37502</c:v>
                </c:pt>
                <c:pt idx="1200">
                  <c:v>37503</c:v>
                </c:pt>
                <c:pt idx="1201">
                  <c:v>37504</c:v>
                </c:pt>
                <c:pt idx="1202">
                  <c:v>37505</c:v>
                </c:pt>
                <c:pt idx="1203">
                  <c:v>37508</c:v>
                </c:pt>
                <c:pt idx="1204">
                  <c:v>37509</c:v>
                </c:pt>
                <c:pt idx="1205">
                  <c:v>37510</c:v>
                </c:pt>
                <c:pt idx="1206">
                  <c:v>37511</c:v>
                </c:pt>
                <c:pt idx="1207">
                  <c:v>37512</c:v>
                </c:pt>
                <c:pt idx="1208">
                  <c:v>37515</c:v>
                </c:pt>
                <c:pt idx="1209">
                  <c:v>37516</c:v>
                </c:pt>
                <c:pt idx="1210">
                  <c:v>37517</c:v>
                </c:pt>
                <c:pt idx="1211">
                  <c:v>37518</c:v>
                </c:pt>
                <c:pt idx="1212">
                  <c:v>37519</c:v>
                </c:pt>
                <c:pt idx="1213">
                  <c:v>37522</c:v>
                </c:pt>
                <c:pt idx="1214">
                  <c:v>37523</c:v>
                </c:pt>
                <c:pt idx="1215">
                  <c:v>37524</c:v>
                </c:pt>
                <c:pt idx="1216">
                  <c:v>37525</c:v>
                </c:pt>
                <c:pt idx="1217">
                  <c:v>37526</c:v>
                </c:pt>
                <c:pt idx="1218">
                  <c:v>37529</c:v>
                </c:pt>
                <c:pt idx="1219">
                  <c:v>37530</c:v>
                </c:pt>
                <c:pt idx="1220">
                  <c:v>37531</c:v>
                </c:pt>
                <c:pt idx="1221">
                  <c:v>37532</c:v>
                </c:pt>
                <c:pt idx="1222">
                  <c:v>37533</c:v>
                </c:pt>
                <c:pt idx="1223">
                  <c:v>37536</c:v>
                </c:pt>
                <c:pt idx="1224">
                  <c:v>37537</c:v>
                </c:pt>
                <c:pt idx="1225">
                  <c:v>37538</c:v>
                </c:pt>
                <c:pt idx="1226">
                  <c:v>37539</c:v>
                </c:pt>
                <c:pt idx="1227">
                  <c:v>37540</c:v>
                </c:pt>
                <c:pt idx="1228">
                  <c:v>37543</c:v>
                </c:pt>
                <c:pt idx="1229">
                  <c:v>37544</c:v>
                </c:pt>
                <c:pt idx="1230">
                  <c:v>37545</c:v>
                </c:pt>
                <c:pt idx="1231">
                  <c:v>37546</c:v>
                </c:pt>
                <c:pt idx="1232">
                  <c:v>37547</c:v>
                </c:pt>
                <c:pt idx="1233">
                  <c:v>37550</c:v>
                </c:pt>
                <c:pt idx="1234">
                  <c:v>37551</c:v>
                </c:pt>
                <c:pt idx="1235">
                  <c:v>37552</c:v>
                </c:pt>
                <c:pt idx="1236">
                  <c:v>37553</c:v>
                </c:pt>
                <c:pt idx="1237">
                  <c:v>37554</c:v>
                </c:pt>
                <c:pt idx="1238">
                  <c:v>37557</c:v>
                </c:pt>
                <c:pt idx="1239">
                  <c:v>37558</c:v>
                </c:pt>
                <c:pt idx="1240">
                  <c:v>37559</c:v>
                </c:pt>
                <c:pt idx="1241">
                  <c:v>37560</c:v>
                </c:pt>
                <c:pt idx="1242">
                  <c:v>37561</c:v>
                </c:pt>
                <c:pt idx="1243">
                  <c:v>37564</c:v>
                </c:pt>
                <c:pt idx="1244">
                  <c:v>37565</c:v>
                </c:pt>
                <c:pt idx="1245">
                  <c:v>37566</c:v>
                </c:pt>
                <c:pt idx="1246">
                  <c:v>37567</c:v>
                </c:pt>
                <c:pt idx="1247">
                  <c:v>37568</c:v>
                </c:pt>
                <c:pt idx="1248">
                  <c:v>37571</c:v>
                </c:pt>
                <c:pt idx="1249">
                  <c:v>37572</c:v>
                </c:pt>
                <c:pt idx="1250">
                  <c:v>37573</c:v>
                </c:pt>
                <c:pt idx="1251">
                  <c:v>37574</c:v>
                </c:pt>
                <c:pt idx="1252">
                  <c:v>37575</c:v>
                </c:pt>
                <c:pt idx="1253">
                  <c:v>37578</c:v>
                </c:pt>
                <c:pt idx="1254">
                  <c:v>37579</c:v>
                </c:pt>
                <c:pt idx="1255">
                  <c:v>37580</c:v>
                </c:pt>
                <c:pt idx="1256">
                  <c:v>37581</c:v>
                </c:pt>
                <c:pt idx="1257">
                  <c:v>37582</c:v>
                </c:pt>
                <c:pt idx="1258">
                  <c:v>37585</c:v>
                </c:pt>
                <c:pt idx="1259">
                  <c:v>37586</c:v>
                </c:pt>
                <c:pt idx="1260">
                  <c:v>37587</c:v>
                </c:pt>
                <c:pt idx="1261">
                  <c:v>37588</c:v>
                </c:pt>
                <c:pt idx="1262">
                  <c:v>37589</c:v>
                </c:pt>
                <c:pt idx="1263">
                  <c:v>37592</c:v>
                </c:pt>
                <c:pt idx="1264">
                  <c:v>37593</c:v>
                </c:pt>
                <c:pt idx="1265">
                  <c:v>37594</c:v>
                </c:pt>
                <c:pt idx="1266">
                  <c:v>37595</c:v>
                </c:pt>
                <c:pt idx="1267">
                  <c:v>37596</c:v>
                </c:pt>
                <c:pt idx="1268">
                  <c:v>37599</c:v>
                </c:pt>
                <c:pt idx="1269">
                  <c:v>37600</c:v>
                </c:pt>
                <c:pt idx="1270">
                  <c:v>37601</c:v>
                </c:pt>
                <c:pt idx="1271">
                  <c:v>37602</c:v>
                </c:pt>
                <c:pt idx="1272">
                  <c:v>37603</c:v>
                </c:pt>
                <c:pt idx="1273">
                  <c:v>37606</c:v>
                </c:pt>
                <c:pt idx="1274">
                  <c:v>37607</c:v>
                </c:pt>
                <c:pt idx="1275">
                  <c:v>37608</c:v>
                </c:pt>
                <c:pt idx="1276">
                  <c:v>37609</c:v>
                </c:pt>
                <c:pt idx="1277">
                  <c:v>37610</c:v>
                </c:pt>
                <c:pt idx="1278">
                  <c:v>37613</c:v>
                </c:pt>
                <c:pt idx="1279">
                  <c:v>37614</c:v>
                </c:pt>
                <c:pt idx="1280">
                  <c:v>37616</c:v>
                </c:pt>
                <c:pt idx="1281">
                  <c:v>37617</c:v>
                </c:pt>
                <c:pt idx="1282">
                  <c:v>37620</c:v>
                </c:pt>
                <c:pt idx="1283">
                  <c:v>37621</c:v>
                </c:pt>
                <c:pt idx="1284">
                  <c:v>37623</c:v>
                </c:pt>
                <c:pt idx="1285">
                  <c:v>37624</c:v>
                </c:pt>
                <c:pt idx="1286">
                  <c:v>37627</c:v>
                </c:pt>
                <c:pt idx="1287">
                  <c:v>37628</c:v>
                </c:pt>
                <c:pt idx="1288">
                  <c:v>37629</c:v>
                </c:pt>
                <c:pt idx="1289">
                  <c:v>37630</c:v>
                </c:pt>
                <c:pt idx="1290">
                  <c:v>37631</c:v>
                </c:pt>
                <c:pt idx="1291">
                  <c:v>37634</c:v>
                </c:pt>
                <c:pt idx="1292">
                  <c:v>37635</c:v>
                </c:pt>
                <c:pt idx="1293">
                  <c:v>37636</c:v>
                </c:pt>
                <c:pt idx="1294">
                  <c:v>37637</c:v>
                </c:pt>
                <c:pt idx="1295">
                  <c:v>37638</c:v>
                </c:pt>
                <c:pt idx="1296">
                  <c:v>37641</c:v>
                </c:pt>
                <c:pt idx="1297">
                  <c:v>37642</c:v>
                </c:pt>
                <c:pt idx="1298">
                  <c:v>37643</c:v>
                </c:pt>
                <c:pt idx="1299">
                  <c:v>37644</c:v>
                </c:pt>
                <c:pt idx="1300">
                  <c:v>37645</c:v>
                </c:pt>
                <c:pt idx="1301">
                  <c:v>37648</c:v>
                </c:pt>
                <c:pt idx="1302">
                  <c:v>37649</c:v>
                </c:pt>
                <c:pt idx="1303">
                  <c:v>37650</c:v>
                </c:pt>
                <c:pt idx="1304">
                  <c:v>37651</c:v>
                </c:pt>
                <c:pt idx="1305">
                  <c:v>37652</c:v>
                </c:pt>
                <c:pt idx="1306">
                  <c:v>37655</c:v>
                </c:pt>
                <c:pt idx="1307">
                  <c:v>37656</c:v>
                </c:pt>
                <c:pt idx="1308">
                  <c:v>37657</c:v>
                </c:pt>
                <c:pt idx="1309">
                  <c:v>37658</c:v>
                </c:pt>
                <c:pt idx="1310">
                  <c:v>37659</c:v>
                </c:pt>
                <c:pt idx="1311">
                  <c:v>37662</c:v>
                </c:pt>
                <c:pt idx="1312">
                  <c:v>37663</c:v>
                </c:pt>
                <c:pt idx="1313">
                  <c:v>37664</c:v>
                </c:pt>
                <c:pt idx="1314">
                  <c:v>37665</c:v>
                </c:pt>
                <c:pt idx="1315">
                  <c:v>37666</c:v>
                </c:pt>
                <c:pt idx="1316">
                  <c:v>37669</c:v>
                </c:pt>
                <c:pt idx="1317">
                  <c:v>37670</c:v>
                </c:pt>
                <c:pt idx="1318">
                  <c:v>37671</c:v>
                </c:pt>
                <c:pt idx="1319">
                  <c:v>37672</c:v>
                </c:pt>
                <c:pt idx="1320">
                  <c:v>37673</c:v>
                </c:pt>
                <c:pt idx="1321">
                  <c:v>37676</c:v>
                </c:pt>
                <c:pt idx="1322">
                  <c:v>37677</c:v>
                </c:pt>
                <c:pt idx="1323">
                  <c:v>37678</c:v>
                </c:pt>
                <c:pt idx="1324">
                  <c:v>37679</c:v>
                </c:pt>
                <c:pt idx="1325">
                  <c:v>37680</c:v>
                </c:pt>
                <c:pt idx="1326">
                  <c:v>37683</c:v>
                </c:pt>
                <c:pt idx="1327">
                  <c:v>37684</c:v>
                </c:pt>
                <c:pt idx="1328">
                  <c:v>37685</c:v>
                </c:pt>
                <c:pt idx="1329">
                  <c:v>37686</c:v>
                </c:pt>
                <c:pt idx="1330">
                  <c:v>37687</c:v>
                </c:pt>
                <c:pt idx="1331">
                  <c:v>37690</c:v>
                </c:pt>
                <c:pt idx="1332">
                  <c:v>37691</c:v>
                </c:pt>
                <c:pt idx="1333">
                  <c:v>37692</c:v>
                </c:pt>
                <c:pt idx="1334">
                  <c:v>37693</c:v>
                </c:pt>
                <c:pt idx="1335">
                  <c:v>37694</c:v>
                </c:pt>
                <c:pt idx="1336">
                  <c:v>37697</c:v>
                </c:pt>
                <c:pt idx="1337">
                  <c:v>37698</c:v>
                </c:pt>
                <c:pt idx="1338">
                  <c:v>37699</c:v>
                </c:pt>
                <c:pt idx="1339">
                  <c:v>37700</c:v>
                </c:pt>
                <c:pt idx="1340">
                  <c:v>37701</c:v>
                </c:pt>
                <c:pt idx="1341">
                  <c:v>37704</c:v>
                </c:pt>
                <c:pt idx="1342">
                  <c:v>37705</c:v>
                </c:pt>
                <c:pt idx="1343">
                  <c:v>37706</c:v>
                </c:pt>
                <c:pt idx="1344">
                  <c:v>37707</c:v>
                </c:pt>
                <c:pt idx="1345">
                  <c:v>37708</c:v>
                </c:pt>
                <c:pt idx="1346">
                  <c:v>37711</c:v>
                </c:pt>
                <c:pt idx="1347">
                  <c:v>37712</c:v>
                </c:pt>
                <c:pt idx="1348">
                  <c:v>37713</c:v>
                </c:pt>
                <c:pt idx="1349">
                  <c:v>37714</c:v>
                </c:pt>
                <c:pt idx="1350">
                  <c:v>37715</c:v>
                </c:pt>
                <c:pt idx="1351">
                  <c:v>37718</c:v>
                </c:pt>
                <c:pt idx="1352">
                  <c:v>37719</c:v>
                </c:pt>
                <c:pt idx="1353">
                  <c:v>37720</c:v>
                </c:pt>
                <c:pt idx="1354">
                  <c:v>37721</c:v>
                </c:pt>
                <c:pt idx="1355">
                  <c:v>37722</c:v>
                </c:pt>
                <c:pt idx="1356">
                  <c:v>37725</c:v>
                </c:pt>
                <c:pt idx="1357">
                  <c:v>37726</c:v>
                </c:pt>
                <c:pt idx="1358">
                  <c:v>37727</c:v>
                </c:pt>
                <c:pt idx="1359">
                  <c:v>37728</c:v>
                </c:pt>
                <c:pt idx="1360">
                  <c:v>37729</c:v>
                </c:pt>
                <c:pt idx="1361">
                  <c:v>37732</c:v>
                </c:pt>
                <c:pt idx="1362">
                  <c:v>37733</c:v>
                </c:pt>
                <c:pt idx="1363">
                  <c:v>37734</c:v>
                </c:pt>
                <c:pt idx="1364">
                  <c:v>37735</c:v>
                </c:pt>
                <c:pt idx="1365">
                  <c:v>37736</c:v>
                </c:pt>
                <c:pt idx="1366">
                  <c:v>37739</c:v>
                </c:pt>
                <c:pt idx="1367">
                  <c:v>37740</c:v>
                </c:pt>
                <c:pt idx="1368">
                  <c:v>37741</c:v>
                </c:pt>
                <c:pt idx="1369">
                  <c:v>37742</c:v>
                </c:pt>
                <c:pt idx="1370">
                  <c:v>37743</c:v>
                </c:pt>
                <c:pt idx="1371">
                  <c:v>37746</c:v>
                </c:pt>
                <c:pt idx="1372">
                  <c:v>37747</c:v>
                </c:pt>
                <c:pt idx="1373">
                  <c:v>37748</c:v>
                </c:pt>
                <c:pt idx="1374">
                  <c:v>37749</c:v>
                </c:pt>
                <c:pt idx="1375">
                  <c:v>37750</c:v>
                </c:pt>
                <c:pt idx="1376">
                  <c:v>37753</c:v>
                </c:pt>
                <c:pt idx="1377">
                  <c:v>37754</c:v>
                </c:pt>
                <c:pt idx="1378">
                  <c:v>37755</c:v>
                </c:pt>
                <c:pt idx="1379">
                  <c:v>37756</c:v>
                </c:pt>
                <c:pt idx="1380">
                  <c:v>37757</c:v>
                </c:pt>
                <c:pt idx="1381">
                  <c:v>37760</c:v>
                </c:pt>
                <c:pt idx="1382">
                  <c:v>37761</c:v>
                </c:pt>
                <c:pt idx="1383">
                  <c:v>37762</c:v>
                </c:pt>
                <c:pt idx="1384">
                  <c:v>37763</c:v>
                </c:pt>
                <c:pt idx="1385">
                  <c:v>37764</c:v>
                </c:pt>
                <c:pt idx="1386">
                  <c:v>37767</c:v>
                </c:pt>
                <c:pt idx="1387">
                  <c:v>37768</c:v>
                </c:pt>
                <c:pt idx="1388">
                  <c:v>37769</c:v>
                </c:pt>
                <c:pt idx="1389">
                  <c:v>37770</c:v>
                </c:pt>
                <c:pt idx="1390">
                  <c:v>37771</c:v>
                </c:pt>
                <c:pt idx="1391">
                  <c:v>37774</c:v>
                </c:pt>
                <c:pt idx="1392">
                  <c:v>37775</c:v>
                </c:pt>
                <c:pt idx="1393">
                  <c:v>37776</c:v>
                </c:pt>
                <c:pt idx="1394">
                  <c:v>37777</c:v>
                </c:pt>
                <c:pt idx="1395">
                  <c:v>37778</c:v>
                </c:pt>
                <c:pt idx="1396">
                  <c:v>37781</c:v>
                </c:pt>
                <c:pt idx="1397">
                  <c:v>37782</c:v>
                </c:pt>
                <c:pt idx="1398">
                  <c:v>37783</c:v>
                </c:pt>
                <c:pt idx="1399">
                  <c:v>37784</c:v>
                </c:pt>
                <c:pt idx="1400">
                  <c:v>37785</c:v>
                </c:pt>
                <c:pt idx="1401">
                  <c:v>37788</c:v>
                </c:pt>
                <c:pt idx="1402">
                  <c:v>37789</c:v>
                </c:pt>
                <c:pt idx="1403">
                  <c:v>37790</c:v>
                </c:pt>
                <c:pt idx="1404">
                  <c:v>37791</c:v>
                </c:pt>
                <c:pt idx="1405">
                  <c:v>37792</c:v>
                </c:pt>
                <c:pt idx="1406">
                  <c:v>37795</c:v>
                </c:pt>
                <c:pt idx="1407">
                  <c:v>37796</c:v>
                </c:pt>
                <c:pt idx="1408">
                  <c:v>37797</c:v>
                </c:pt>
                <c:pt idx="1409">
                  <c:v>37798</c:v>
                </c:pt>
                <c:pt idx="1410">
                  <c:v>37799</c:v>
                </c:pt>
                <c:pt idx="1411">
                  <c:v>37802</c:v>
                </c:pt>
                <c:pt idx="1412">
                  <c:v>37803</c:v>
                </c:pt>
                <c:pt idx="1413">
                  <c:v>37804</c:v>
                </c:pt>
                <c:pt idx="1414">
                  <c:v>37805</c:v>
                </c:pt>
                <c:pt idx="1415">
                  <c:v>37806</c:v>
                </c:pt>
                <c:pt idx="1416">
                  <c:v>37809</c:v>
                </c:pt>
                <c:pt idx="1417">
                  <c:v>37810</c:v>
                </c:pt>
                <c:pt idx="1418">
                  <c:v>37811</c:v>
                </c:pt>
                <c:pt idx="1419">
                  <c:v>37812</c:v>
                </c:pt>
                <c:pt idx="1420">
                  <c:v>37813</c:v>
                </c:pt>
                <c:pt idx="1421">
                  <c:v>37816</c:v>
                </c:pt>
                <c:pt idx="1422">
                  <c:v>37817</c:v>
                </c:pt>
                <c:pt idx="1423">
                  <c:v>37818</c:v>
                </c:pt>
                <c:pt idx="1424">
                  <c:v>37819</c:v>
                </c:pt>
                <c:pt idx="1425">
                  <c:v>37820</c:v>
                </c:pt>
                <c:pt idx="1426">
                  <c:v>37823</c:v>
                </c:pt>
                <c:pt idx="1427">
                  <c:v>37824</c:v>
                </c:pt>
                <c:pt idx="1428">
                  <c:v>37825</c:v>
                </c:pt>
                <c:pt idx="1429">
                  <c:v>37826</c:v>
                </c:pt>
                <c:pt idx="1430">
                  <c:v>37827</c:v>
                </c:pt>
                <c:pt idx="1431">
                  <c:v>37830</c:v>
                </c:pt>
                <c:pt idx="1432">
                  <c:v>37831</c:v>
                </c:pt>
                <c:pt idx="1433">
                  <c:v>37832</c:v>
                </c:pt>
                <c:pt idx="1434">
                  <c:v>37833</c:v>
                </c:pt>
                <c:pt idx="1435">
                  <c:v>37834</c:v>
                </c:pt>
                <c:pt idx="1436">
                  <c:v>37837</c:v>
                </c:pt>
                <c:pt idx="1437">
                  <c:v>37838</c:v>
                </c:pt>
                <c:pt idx="1438">
                  <c:v>37839</c:v>
                </c:pt>
                <c:pt idx="1439">
                  <c:v>37840</c:v>
                </c:pt>
                <c:pt idx="1440">
                  <c:v>37841</c:v>
                </c:pt>
                <c:pt idx="1441">
                  <c:v>37844</c:v>
                </c:pt>
                <c:pt idx="1442">
                  <c:v>37845</c:v>
                </c:pt>
                <c:pt idx="1443">
                  <c:v>37846</c:v>
                </c:pt>
                <c:pt idx="1444">
                  <c:v>37847</c:v>
                </c:pt>
                <c:pt idx="1445">
                  <c:v>37848</c:v>
                </c:pt>
                <c:pt idx="1446">
                  <c:v>37851</c:v>
                </c:pt>
                <c:pt idx="1447">
                  <c:v>37852</c:v>
                </c:pt>
                <c:pt idx="1448">
                  <c:v>37853</c:v>
                </c:pt>
                <c:pt idx="1449">
                  <c:v>37854</c:v>
                </c:pt>
                <c:pt idx="1450">
                  <c:v>37855</c:v>
                </c:pt>
                <c:pt idx="1451">
                  <c:v>37858</c:v>
                </c:pt>
                <c:pt idx="1452">
                  <c:v>37859</c:v>
                </c:pt>
                <c:pt idx="1453">
                  <c:v>37860</c:v>
                </c:pt>
                <c:pt idx="1454">
                  <c:v>37861</c:v>
                </c:pt>
                <c:pt idx="1455">
                  <c:v>37862</c:v>
                </c:pt>
                <c:pt idx="1456">
                  <c:v>37865</c:v>
                </c:pt>
                <c:pt idx="1457">
                  <c:v>37866</c:v>
                </c:pt>
                <c:pt idx="1458">
                  <c:v>37867</c:v>
                </c:pt>
                <c:pt idx="1459">
                  <c:v>37868</c:v>
                </c:pt>
                <c:pt idx="1460">
                  <c:v>37869</c:v>
                </c:pt>
                <c:pt idx="1461">
                  <c:v>37872</c:v>
                </c:pt>
                <c:pt idx="1462">
                  <c:v>37873</c:v>
                </c:pt>
                <c:pt idx="1463">
                  <c:v>37874</c:v>
                </c:pt>
                <c:pt idx="1464">
                  <c:v>37875</c:v>
                </c:pt>
                <c:pt idx="1465">
                  <c:v>37876</c:v>
                </c:pt>
                <c:pt idx="1466">
                  <c:v>37879</c:v>
                </c:pt>
                <c:pt idx="1467">
                  <c:v>37880</c:v>
                </c:pt>
                <c:pt idx="1468">
                  <c:v>37881</c:v>
                </c:pt>
                <c:pt idx="1469">
                  <c:v>37882</c:v>
                </c:pt>
                <c:pt idx="1470">
                  <c:v>37883</c:v>
                </c:pt>
                <c:pt idx="1471">
                  <c:v>37886</c:v>
                </c:pt>
                <c:pt idx="1472">
                  <c:v>37887</c:v>
                </c:pt>
                <c:pt idx="1473">
                  <c:v>37888</c:v>
                </c:pt>
                <c:pt idx="1474">
                  <c:v>37889</c:v>
                </c:pt>
                <c:pt idx="1475">
                  <c:v>37890</c:v>
                </c:pt>
                <c:pt idx="1476">
                  <c:v>37893</c:v>
                </c:pt>
                <c:pt idx="1477">
                  <c:v>37894</c:v>
                </c:pt>
                <c:pt idx="1478">
                  <c:v>37895</c:v>
                </c:pt>
                <c:pt idx="1479">
                  <c:v>37896</c:v>
                </c:pt>
                <c:pt idx="1480">
                  <c:v>37897</c:v>
                </c:pt>
                <c:pt idx="1481">
                  <c:v>37900</c:v>
                </c:pt>
                <c:pt idx="1482">
                  <c:v>37901</c:v>
                </c:pt>
                <c:pt idx="1483">
                  <c:v>37902</c:v>
                </c:pt>
                <c:pt idx="1484">
                  <c:v>37903</c:v>
                </c:pt>
                <c:pt idx="1485">
                  <c:v>37904</c:v>
                </c:pt>
                <c:pt idx="1486">
                  <c:v>37907</c:v>
                </c:pt>
                <c:pt idx="1487">
                  <c:v>37908</c:v>
                </c:pt>
                <c:pt idx="1488">
                  <c:v>37909</c:v>
                </c:pt>
                <c:pt idx="1489">
                  <c:v>37910</c:v>
                </c:pt>
                <c:pt idx="1490">
                  <c:v>37911</c:v>
                </c:pt>
                <c:pt idx="1491">
                  <c:v>37914</c:v>
                </c:pt>
                <c:pt idx="1492">
                  <c:v>37915</c:v>
                </c:pt>
                <c:pt idx="1493">
                  <c:v>37916</c:v>
                </c:pt>
                <c:pt idx="1494">
                  <c:v>37917</c:v>
                </c:pt>
                <c:pt idx="1495">
                  <c:v>37918</c:v>
                </c:pt>
                <c:pt idx="1496">
                  <c:v>37921</c:v>
                </c:pt>
                <c:pt idx="1497">
                  <c:v>37922</c:v>
                </c:pt>
                <c:pt idx="1498">
                  <c:v>37923</c:v>
                </c:pt>
                <c:pt idx="1499">
                  <c:v>37924</c:v>
                </c:pt>
                <c:pt idx="1500">
                  <c:v>37925</c:v>
                </c:pt>
                <c:pt idx="1501">
                  <c:v>37928</c:v>
                </c:pt>
                <c:pt idx="1502">
                  <c:v>37929</c:v>
                </c:pt>
                <c:pt idx="1503">
                  <c:v>37930</c:v>
                </c:pt>
                <c:pt idx="1504">
                  <c:v>37931</c:v>
                </c:pt>
                <c:pt idx="1505">
                  <c:v>37932</c:v>
                </c:pt>
                <c:pt idx="1506">
                  <c:v>37935</c:v>
                </c:pt>
                <c:pt idx="1507">
                  <c:v>37936</c:v>
                </c:pt>
                <c:pt idx="1508">
                  <c:v>37937</c:v>
                </c:pt>
                <c:pt idx="1509">
                  <c:v>37938</c:v>
                </c:pt>
                <c:pt idx="1510">
                  <c:v>37939</c:v>
                </c:pt>
                <c:pt idx="1511">
                  <c:v>37942</c:v>
                </c:pt>
                <c:pt idx="1512">
                  <c:v>37943</c:v>
                </c:pt>
                <c:pt idx="1513">
                  <c:v>37944</c:v>
                </c:pt>
                <c:pt idx="1514">
                  <c:v>37945</c:v>
                </c:pt>
                <c:pt idx="1515">
                  <c:v>37946</c:v>
                </c:pt>
                <c:pt idx="1516">
                  <c:v>37949</c:v>
                </c:pt>
                <c:pt idx="1517">
                  <c:v>37950</c:v>
                </c:pt>
                <c:pt idx="1518">
                  <c:v>37951</c:v>
                </c:pt>
                <c:pt idx="1519">
                  <c:v>37952</c:v>
                </c:pt>
                <c:pt idx="1520">
                  <c:v>37953</c:v>
                </c:pt>
                <c:pt idx="1521">
                  <c:v>37956</c:v>
                </c:pt>
                <c:pt idx="1522">
                  <c:v>37957</c:v>
                </c:pt>
                <c:pt idx="1523">
                  <c:v>37958</c:v>
                </c:pt>
                <c:pt idx="1524">
                  <c:v>37959</c:v>
                </c:pt>
                <c:pt idx="1525">
                  <c:v>37960</c:v>
                </c:pt>
                <c:pt idx="1526">
                  <c:v>37963</c:v>
                </c:pt>
                <c:pt idx="1527">
                  <c:v>37964</c:v>
                </c:pt>
                <c:pt idx="1528">
                  <c:v>37965</c:v>
                </c:pt>
                <c:pt idx="1529">
                  <c:v>37966</c:v>
                </c:pt>
                <c:pt idx="1530">
                  <c:v>37967</c:v>
                </c:pt>
                <c:pt idx="1531">
                  <c:v>37970</c:v>
                </c:pt>
                <c:pt idx="1532">
                  <c:v>37971</c:v>
                </c:pt>
                <c:pt idx="1533">
                  <c:v>37972</c:v>
                </c:pt>
                <c:pt idx="1534">
                  <c:v>37973</c:v>
                </c:pt>
                <c:pt idx="1535">
                  <c:v>37974</c:v>
                </c:pt>
                <c:pt idx="1536">
                  <c:v>37977</c:v>
                </c:pt>
                <c:pt idx="1537">
                  <c:v>37978</c:v>
                </c:pt>
                <c:pt idx="1538">
                  <c:v>37979</c:v>
                </c:pt>
                <c:pt idx="1539">
                  <c:v>37984</c:v>
                </c:pt>
                <c:pt idx="1540">
                  <c:v>37985</c:v>
                </c:pt>
                <c:pt idx="1541">
                  <c:v>37986</c:v>
                </c:pt>
                <c:pt idx="1542">
                  <c:v>37988</c:v>
                </c:pt>
                <c:pt idx="1543">
                  <c:v>37991</c:v>
                </c:pt>
                <c:pt idx="1544">
                  <c:v>37992</c:v>
                </c:pt>
                <c:pt idx="1545">
                  <c:v>37993</c:v>
                </c:pt>
                <c:pt idx="1546">
                  <c:v>37994</c:v>
                </c:pt>
                <c:pt idx="1547">
                  <c:v>37995</c:v>
                </c:pt>
                <c:pt idx="1548">
                  <c:v>37998</c:v>
                </c:pt>
                <c:pt idx="1549">
                  <c:v>37999</c:v>
                </c:pt>
                <c:pt idx="1550">
                  <c:v>38000</c:v>
                </c:pt>
                <c:pt idx="1551">
                  <c:v>38001</c:v>
                </c:pt>
                <c:pt idx="1552">
                  <c:v>38002</c:v>
                </c:pt>
                <c:pt idx="1553">
                  <c:v>38005</c:v>
                </c:pt>
                <c:pt idx="1554">
                  <c:v>38006</c:v>
                </c:pt>
                <c:pt idx="1555">
                  <c:v>38007</c:v>
                </c:pt>
                <c:pt idx="1556">
                  <c:v>38008</c:v>
                </c:pt>
                <c:pt idx="1557">
                  <c:v>38009</c:v>
                </c:pt>
                <c:pt idx="1558">
                  <c:v>38012</c:v>
                </c:pt>
                <c:pt idx="1559">
                  <c:v>38013</c:v>
                </c:pt>
                <c:pt idx="1560">
                  <c:v>38014</c:v>
                </c:pt>
                <c:pt idx="1561">
                  <c:v>38015</c:v>
                </c:pt>
                <c:pt idx="1562">
                  <c:v>38016</c:v>
                </c:pt>
                <c:pt idx="1563">
                  <c:v>38019</c:v>
                </c:pt>
                <c:pt idx="1564">
                  <c:v>38020</c:v>
                </c:pt>
                <c:pt idx="1565">
                  <c:v>38021</c:v>
                </c:pt>
                <c:pt idx="1566">
                  <c:v>38022</c:v>
                </c:pt>
                <c:pt idx="1567">
                  <c:v>38023</c:v>
                </c:pt>
                <c:pt idx="1568">
                  <c:v>38026</c:v>
                </c:pt>
                <c:pt idx="1569">
                  <c:v>38027</c:v>
                </c:pt>
                <c:pt idx="1570">
                  <c:v>38028</c:v>
                </c:pt>
                <c:pt idx="1571">
                  <c:v>38029</c:v>
                </c:pt>
                <c:pt idx="1572">
                  <c:v>38030</c:v>
                </c:pt>
                <c:pt idx="1573">
                  <c:v>38033</c:v>
                </c:pt>
                <c:pt idx="1574">
                  <c:v>38034</c:v>
                </c:pt>
                <c:pt idx="1575">
                  <c:v>38035</c:v>
                </c:pt>
                <c:pt idx="1576">
                  <c:v>38036</c:v>
                </c:pt>
                <c:pt idx="1577">
                  <c:v>38037</c:v>
                </c:pt>
                <c:pt idx="1578">
                  <c:v>38040</c:v>
                </c:pt>
                <c:pt idx="1579">
                  <c:v>38041</c:v>
                </c:pt>
                <c:pt idx="1580">
                  <c:v>38042</c:v>
                </c:pt>
                <c:pt idx="1581">
                  <c:v>38043</c:v>
                </c:pt>
                <c:pt idx="1582">
                  <c:v>38044</c:v>
                </c:pt>
                <c:pt idx="1583">
                  <c:v>38047</c:v>
                </c:pt>
                <c:pt idx="1584">
                  <c:v>38048</c:v>
                </c:pt>
                <c:pt idx="1585">
                  <c:v>38049</c:v>
                </c:pt>
                <c:pt idx="1586">
                  <c:v>38050</c:v>
                </c:pt>
                <c:pt idx="1587">
                  <c:v>38051</c:v>
                </c:pt>
                <c:pt idx="1588">
                  <c:v>38054</c:v>
                </c:pt>
                <c:pt idx="1589">
                  <c:v>38055</c:v>
                </c:pt>
                <c:pt idx="1590">
                  <c:v>38056</c:v>
                </c:pt>
                <c:pt idx="1591">
                  <c:v>38057</c:v>
                </c:pt>
                <c:pt idx="1592">
                  <c:v>38058</c:v>
                </c:pt>
                <c:pt idx="1593">
                  <c:v>38061</c:v>
                </c:pt>
                <c:pt idx="1594">
                  <c:v>38062</c:v>
                </c:pt>
                <c:pt idx="1595">
                  <c:v>38063</c:v>
                </c:pt>
                <c:pt idx="1596">
                  <c:v>38064</c:v>
                </c:pt>
                <c:pt idx="1597">
                  <c:v>38065</c:v>
                </c:pt>
                <c:pt idx="1598">
                  <c:v>38068</c:v>
                </c:pt>
                <c:pt idx="1599">
                  <c:v>38069</c:v>
                </c:pt>
                <c:pt idx="1600">
                  <c:v>38070</c:v>
                </c:pt>
                <c:pt idx="1601">
                  <c:v>38071</c:v>
                </c:pt>
                <c:pt idx="1602">
                  <c:v>38072</c:v>
                </c:pt>
                <c:pt idx="1603">
                  <c:v>38075</c:v>
                </c:pt>
                <c:pt idx="1604">
                  <c:v>38076</c:v>
                </c:pt>
                <c:pt idx="1605">
                  <c:v>38077</c:v>
                </c:pt>
                <c:pt idx="1606">
                  <c:v>38078</c:v>
                </c:pt>
                <c:pt idx="1607">
                  <c:v>38079</c:v>
                </c:pt>
                <c:pt idx="1608">
                  <c:v>38082</c:v>
                </c:pt>
                <c:pt idx="1609">
                  <c:v>38083</c:v>
                </c:pt>
                <c:pt idx="1610">
                  <c:v>38084</c:v>
                </c:pt>
                <c:pt idx="1611">
                  <c:v>38085</c:v>
                </c:pt>
                <c:pt idx="1612">
                  <c:v>38086</c:v>
                </c:pt>
                <c:pt idx="1613">
                  <c:v>38089</c:v>
                </c:pt>
                <c:pt idx="1614">
                  <c:v>38090</c:v>
                </c:pt>
                <c:pt idx="1615">
                  <c:v>38091</c:v>
                </c:pt>
                <c:pt idx="1616">
                  <c:v>38092</c:v>
                </c:pt>
                <c:pt idx="1617">
                  <c:v>38093</c:v>
                </c:pt>
                <c:pt idx="1618">
                  <c:v>38096</c:v>
                </c:pt>
                <c:pt idx="1619">
                  <c:v>38097</c:v>
                </c:pt>
                <c:pt idx="1620">
                  <c:v>38098</c:v>
                </c:pt>
                <c:pt idx="1621">
                  <c:v>38099</c:v>
                </c:pt>
                <c:pt idx="1622">
                  <c:v>38100</c:v>
                </c:pt>
                <c:pt idx="1623">
                  <c:v>38103</c:v>
                </c:pt>
                <c:pt idx="1624">
                  <c:v>38104</c:v>
                </c:pt>
                <c:pt idx="1625">
                  <c:v>38105</c:v>
                </c:pt>
                <c:pt idx="1626">
                  <c:v>38106</c:v>
                </c:pt>
                <c:pt idx="1627">
                  <c:v>38107</c:v>
                </c:pt>
                <c:pt idx="1628">
                  <c:v>38110</c:v>
                </c:pt>
                <c:pt idx="1629">
                  <c:v>38111</c:v>
                </c:pt>
                <c:pt idx="1630">
                  <c:v>38112</c:v>
                </c:pt>
                <c:pt idx="1631">
                  <c:v>38113</c:v>
                </c:pt>
                <c:pt idx="1632">
                  <c:v>38114</c:v>
                </c:pt>
                <c:pt idx="1633">
                  <c:v>38117</c:v>
                </c:pt>
                <c:pt idx="1634">
                  <c:v>38118</c:v>
                </c:pt>
                <c:pt idx="1635">
                  <c:v>38119</c:v>
                </c:pt>
                <c:pt idx="1636">
                  <c:v>38120</c:v>
                </c:pt>
                <c:pt idx="1637">
                  <c:v>38121</c:v>
                </c:pt>
                <c:pt idx="1638">
                  <c:v>38124</c:v>
                </c:pt>
                <c:pt idx="1639">
                  <c:v>38125</c:v>
                </c:pt>
                <c:pt idx="1640">
                  <c:v>38126</c:v>
                </c:pt>
                <c:pt idx="1641">
                  <c:v>38127</c:v>
                </c:pt>
                <c:pt idx="1642">
                  <c:v>38128</c:v>
                </c:pt>
                <c:pt idx="1643">
                  <c:v>38131</c:v>
                </c:pt>
                <c:pt idx="1644">
                  <c:v>38132</c:v>
                </c:pt>
                <c:pt idx="1645">
                  <c:v>38133</c:v>
                </c:pt>
                <c:pt idx="1646">
                  <c:v>38134</c:v>
                </c:pt>
                <c:pt idx="1647">
                  <c:v>38135</c:v>
                </c:pt>
                <c:pt idx="1648">
                  <c:v>38138</c:v>
                </c:pt>
                <c:pt idx="1649">
                  <c:v>38139</c:v>
                </c:pt>
                <c:pt idx="1650">
                  <c:v>38140</c:v>
                </c:pt>
                <c:pt idx="1651">
                  <c:v>38141</c:v>
                </c:pt>
                <c:pt idx="1652">
                  <c:v>38142</c:v>
                </c:pt>
                <c:pt idx="1653">
                  <c:v>38145</c:v>
                </c:pt>
                <c:pt idx="1654">
                  <c:v>38146</c:v>
                </c:pt>
                <c:pt idx="1655">
                  <c:v>38147</c:v>
                </c:pt>
                <c:pt idx="1656">
                  <c:v>38148</c:v>
                </c:pt>
                <c:pt idx="1657">
                  <c:v>38149</c:v>
                </c:pt>
                <c:pt idx="1658">
                  <c:v>38152</c:v>
                </c:pt>
                <c:pt idx="1659">
                  <c:v>38153</c:v>
                </c:pt>
                <c:pt idx="1660">
                  <c:v>38154</c:v>
                </c:pt>
                <c:pt idx="1661">
                  <c:v>38155</c:v>
                </c:pt>
                <c:pt idx="1662">
                  <c:v>38156</c:v>
                </c:pt>
                <c:pt idx="1663">
                  <c:v>38159</c:v>
                </c:pt>
                <c:pt idx="1664">
                  <c:v>38160</c:v>
                </c:pt>
                <c:pt idx="1665">
                  <c:v>38161</c:v>
                </c:pt>
                <c:pt idx="1666">
                  <c:v>38162</c:v>
                </c:pt>
                <c:pt idx="1667">
                  <c:v>38163</c:v>
                </c:pt>
                <c:pt idx="1668">
                  <c:v>38166</c:v>
                </c:pt>
                <c:pt idx="1669">
                  <c:v>38167</c:v>
                </c:pt>
                <c:pt idx="1670">
                  <c:v>38168</c:v>
                </c:pt>
                <c:pt idx="1671">
                  <c:v>38169</c:v>
                </c:pt>
                <c:pt idx="1672">
                  <c:v>38170</c:v>
                </c:pt>
                <c:pt idx="1673">
                  <c:v>38173</c:v>
                </c:pt>
                <c:pt idx="1674">
                  <c:v>38174</c:v>
                </c:pt>
                <c:pt idx="1675">
                  <c:v>38175</c:v>
                </c:pt>
                <c:pt idx="1676">
                  <c:v>38176</c:v>
                </c:pt>
                <c:pt idx="1677">
                  <c:v>38177</c:v>
                </c:pt>
                <c:pt idx="1678">
                  <c:v>38180</c:v>
                </c:pt>
                <c:pt idx="1679">
                  <c:v>38181</c:v>
                </c:pt>
                <c:pt idx="1680">
                  <c:v>38182</c:v>
                </c:pt>
                <c:pt idx="1681">
                  <c:v>38183</c:v>
                </c:pt>
                <c:pt idx="1682">
                  <c:v>38184</c:v>
                </c:pt>
                <c:pt idx="1683">
                  <c:v>38187</c:v>
                </c:pt>
                <c:pt idx="1684">
                  <c:v>38188</c:v>
                </c:pt>
                <c:pt idx="1685">
                  <c:v>38189</c:v>
                </c:pt>
                <c:pt idx="1686">
                  <c:v>38190</c:v>
                </c:pt>
                <c:pt idx="1687">
                  <c:v>38191</c:v>
                </c:pt>
                <c:pt idx="1688">
                  <c:v>38194</c:v>
                </c:pt>
                <c:pt idx="1689">
                  <c:v>38195</c:v>
                </c:pt>
                <c:pt idx="1690">
                  <c:v>38196</c:v>
                </c:pt>
                <c:pt idx="1691">
                  <c:v>38197</c:v>
                </c:pt>
                <c:pt idx="1692">
                  <c:v>38198</c:v>
                </c:pt>
                <c:pt idx="1693">
                  <c:v>38201</c:v>
                </c:pt>
                <c:pt idx="1694">
                  <c:v>38202</c:v>
                </c:pt>
                <c:pt idx="1695">
                  <c:v>38203</c:v>
                </c:pt>
                <c:pt idx="1696">
                  <c:v>38204</c:v>
                </c:pt>
                <c:pt idx="1697">
                  <c:v>38205</c:v>
                </c:pt>
                <c:pt idx="1698">
                  <c:v>38208</c:v>
                </c:pt>
                <c:pt idx="1699">
                  <c:v>38209</c:v>
                </c:pt>
                <c:pt idx="1700">
                  <c:v>38210</c:v>
                </c:pt>
                <c:pt idx="1701">
                  <c:v>38211</c:v>
                </c:pt>
                <c:pt idx="1702">
                  <c:v>38212</c:v>
                </c:pt>
                <c:pt idx="1703">
                  <c:v>38215</c:v>
                </c:pt>
                <c:pt idx="1704">
                  <c:v>38216</c:v>
                </c:pt>
                <c:pt idx="1705">
                  <c:v>38217</c:v>
                </c:pt>
                <c:pt idx="1706">
                  <c:v>38218</c:v>
                </c:pt>
                <c:pt idx="1707">
                  <c:v>38219</c:v>
                </c:pt>
                <c:pt idx="1708">
                  <c:v>38222</c:v>
                </c:pt>
                <c:pt idx="1709">
                  <c:v>38223</c:v>
                </c:pt>
                <c:pt idx="1710">
                  <c:v>38224</c:v>
                </c:pt>
                <c:pt idx="1711">
                  <c:v>38225</c:v>
                </c:pt>
                <c:pt idx="1712">
                  <c:v>38226</c:v>
                </c:pt>
                <c:pt idx="1713">
                  <c:v>38229</c:v>
                </c:pt>
                <c:pt idx="1714">
                  <c:v>38230</c:v>
                </c:pt>
                <c:pt idx="1715">
                  <c:v>38231</c:v>
                </c:pt>
                <c:pt idx="1716">
                  <c:v>38232</c:v>
                </c:pt>
                <c:pt idx="1717">
                  <c:v>38233</c:v>
                </c:pt>
                <c:pt idx="1718">
                  <c:v>38236</c:v>
                </c:pt>
                <c:pt idx="1719">
                  <c:v>38237</c:v>
                </c:pt>
                <c:pt idx="1720">
                  <c:v>38238</c:v>
                </c:pt>
                <c:pt idx="1721">
                  <c:v>38239</c:v>
                </c:pt>
                <c:pt idx="1722">
                  <c:v>38240</c:v>
                </c:pt>
                <c:pt idx="1723">
                  <c:v>38243</c:v>
                </c:pt>
                <c:pt idx="1724">
                  <c:v>38244</c:v>
                </c:pt>
                <c:pt idx="1725">
                  <c:v>38245</c:v>
                </c:pt>
                <c:pt idx="1726">
                  <c:v>38246</c:v>
                </c:pt>
                <c:pt idx="1727">
                  <c:v>38247</c:v>
                </c:pt>
                <c:pt idx="1728">
                  <c:v>38250</c:v>
                </c:pt>
                <c:pt idx="1729">
                  <c:v>38251</c:v>
                </c:pt>
                <c:pt idx="1730">
                  <c:v>38252</c:v>
                </c:pt>
                <c:pt idx="1731">
                  <c:v>38253</c:v>
                </c:pt>
                <c:pt idx="1732">
                  <c:v>38254</c:v>
                </c:pt>
                <c:pt idx="1733">
                  <c:v>38257</c:v>
                </c:pt>
                <c:pt idx="1734">
                  <c:v>38258</c:v>
                </c:pt>
                <c:pt idx="1735">
                  <c:v>38259</c:v>
                </c:pt>
                <c:pt idx="1736">
                  <c:v>38260</c:v>
                </c:pt>
                <c:pt idx="1737">
                  <c:v>38261</c:v>
                </c:pt>
                <c:pt idx="1738">
                  <c:v>38264</c:v>
                </c:pt>
                <c:pt idx="1739">
                  <c:v>38265</c:v>
                </c:pt>
                <c:pt idx="1740">
                  <c:v>38266</c:v>
                </c:pt>
                <c:pt idx="1741">
                  <c:v>38267</c:v>
                </c:pt>
                <c:pt idx="1742">
                  <c:v>38268</c:v>
                </c:pt>
                <c:pt idx="1743">
                  <c:v>38271</c:v>
                </c:pt>
                <c:pt idx="1744">
                  <c:v>38272</c:v>
                </c:pt>
                <c:pt idx="1745">
                  <c:v>38273</c:v>
                </c:pt>
                <c:pt idx="1746">
                  <c:v>38274</c:v>
                </c:pt>
                <c:pt idx="1747">
                  <c:v>38275</c:v>
                </c:pt>
                <c:pt idx="1748">
                  <c:v>38278</c:v>
                </c:pt>
                <c:pt idx="1749">
                  <c:v>38279</c:v>
                </c:pt>
                <c:pt idx="1750">
                  <c:v>38280</c:v>
                </c:pt>
                <c:pt idx="1751">
                  <c:v>38281</c:v>
                </c:pt>
                <c:pt idx="1752">
                  <c:v>38282</c:v>
                </c:pt>
                <c:pt idx="1753">
                  <c:v>38285</c:v>
                </c:pt>
                <c:pt idx="1754">
                  <c:v>38286</c:v>
                </c:pt>
                <c:pt idx="1755">
                  <c:v>38287</c:v>
                </c:pt>
                <c:pt idx="1756">
                  <c:v>38288</c:v>
                </c:pt>
                <c:pt idx="1757">
                  <c:v>38289</c:v>
                </c:pt>
                <c:pt idx="1758">
                  <c:v>38292</c:v>
                </c:pt>
                <c:pt idx="1759">
                  <c:v>38293</c:v>
                </c:pt>
                <c:pt idx="1760">
                  <c:v>38294</c:v>
                </c:pt>
                <c:pt idx="1761">
                  <c:v>38295</c:v>
                </c:pt>
                <c:pt idx="1762">
                  <c:v>38296</c:v>
                </c:pt>
                <c:pt idx="1763">
                  <c:v>38299</c:v>
                </c:pt>
                <c:pt idx="1764">
                  <c:v>38300</c:v>
                </c:pt>
                <c:pt idx="1765">
                  <c:v>38301</c:v>
                </c:pt>
                <c:pt idx="1766">
                  <c:v>38302</c:v>
                </c:pt>
                <c:pt idx="1767">
                  <c:v>38303</c:v>
                </c:pt>
                <c:pt idx="1768">
                  <c:v>38306</c:v>
                </c:pt>
                <c:pt idx="1769">
                  <c:v>38307</c:v>
                </c:pt>
                <c:pt idx="1770">
                  <c:v>38308</c:v>
                </c:pt>
                <c:pt idx="1771">
                  <c:v>38309</c:v>
                </c:pt>
                <c:pt idx="1772">
                  <c:v>38310</c:v>
                </c:pt>
                <c:pt idx="1773">
                  <c:v>38313</c:v>
                </c:pt>
                <c:pt idx="1774">
                  <c:v>38314</c:v>
                </c:pt>
                <c:pt idx="1775">
                  <c:v>38315</c:v>
                </c:pt>
                <c:pt idx="1776">
                  <c:v>38316</c:v>
                </c:pt>
                <c:pt idx="1777">
                  <c:v>38317</c:v>
                </c:pt>
                <c:pt idx="1778">
                  <c:v>38320</c:v>
                </c:pt>
                <c:pt idx="1779">
                  <c:v>38321</c:v>
                </c:pt>
                <c:pt idx="1780">
                  <c:v>38322</c:v>
                </c:pt>
                <c:pt idx="1781">
                  <c:v>38323</c:v>
                </c:pt>
                <c:pt idx="1782">
                  <c:v>38324</c:v>
                </c:pt>
                <c:pt idx="1783">
                  <c:v>38327</c:v>
                </c:pt>
                <c:pt idx="1784">
                  <c:v>38328</c:v>
                </c:pt>
                <c:pt idx="1785">
                  <c:v>38329</c:v>
                </c:pt>
                <c:pt idx="1786">
                  <c:v>38330</c:v>
                </c:pt>
                <c:pt idx="1787">
                  <c:v>38331</c:v>
                </c:pt>
                <c:pt idx="1788">
                  <c:v>38334</c:v>
                </c:pt>
                <c:pt idx="1789">
                  <c:v>38335</c:v>
                </c:pt>
                <c:pt idx="1790">
                  <c:v>38336</c:v>
                </c:pt>
                <c:pt idx="1791">
                  <c:v>38337</c:v>
                </c:pt>
                <c:pt idx="1792">
                  <c:v>38338</c:v>
                </c:pt>
                <c:pt idx="1793">
                  <c:v>38341</c:v>
                </c:pt>
                <c:pt idx="1794">
                  <c:v>38342</c:v>
                </c:pt>
                <c:pt idx="1795">
                  <c:v>38343</c:v>
                </c:pt>
                <c:pt idx="1796">
                  <c:v>38344</c:v>
                </c:pt>
                <c:pt idx="1797">
                  <c:v>38345</c:v>
                </c:pt>
                <c:pt idx="1798">
                  <c:v>38348</c:v>
                </c:pt>
                <c:pt idx="1799">
                  <c:v>38349</c:v>
                </c:pt>
                <c:pt idx="1800">
                  <c:v>38350</c:v>
                </c:pt>
                <c:pt idx="1801">
                  <c:v>38351</c:v>
                </c:pt>
                <c:pt idx="1802">
                  <c:v>38352</c:v>
                </c:pt>
                <c:pt idx="1803">
                  <c:v>38355</c:v>
                </c:pt>
                <c:pt idx="1804">
                  <c:v>38356</c:v>
                </c:pt>
                <c:pt idx="1805">
                  <c:v>38357</c:v>
                </c:pt>
                <c:pt idx="1806">
                  <c:v>38358</c:v>
                </c:pt>
                <c:pt idx="1807">
                  <c:v>38359</c:v>
                </c:pt>
                <c:pt idx="1808">
                  <c:v>38362</c:v>
                </c:pt>
                <c:pt idx="1809">
                  <c:v>38363</c:v>
                </c:pt>
                <c:pt idx="1810">
                  <c:v>38364</c:v>
                </c:pt>
                <c:pt idx="1811">
                  <c:v>38365</c:v>
                </c:pt>
                <c:pt idx="1812">
                  <c:v>38366</c:v>
                </c:pt>
                <c:pt idx="1813">
                  <c:v>38369</c:v>
                </c:pt>
                <c:pt idx="1814">
                  <c:v>38370</c:v>
                </c:pt>
                <c:pt idx="1815">
                  <c:v>38371</c:v>
                </c:pt>
                <c:pt idx="1816">
                  <c:v>38372</c:v>
                </c:pt>
                <c:pt idx="1817">
                  <c:v>38373</c:v>
                </c:pt>
                <c:pt idx="1818">
                  <c:v>38376</c:v>
                </c:pt>
                <c:pt idx="1819">
                  <c:v>38377</c:v>
                </c:pt>
                <c:pt idx="1820">
                  <c:v>38378</c:v>
                </c:pt>
                <c:pt idx="1821">
                  <c:v>38379</c:v>
                </c:pt>
                <c:pt idx="1822">
                  <c:v>38380</c:v>
                </c:pt>
                <c:pt idx="1823">
                  <c:v>38383</c:v>
                </c:pt>
                <c:pt idx="1824">
                  <c:v>38384</c:v>
                </c:pt>
                <c:pt idx="1825">
                  <c:v>38385</c:v>
                </c:pt>
                <c:pt idx="1826">
                  <c:v>38386</c:v>
                </c:pt>
                <c:pt idx="1827">
                  <c:v>38387</c:v>
                </c:pt>
                <c:pt idx="1828">
                  <c:v>38390</c:v>
                </c:pt>
                <c:pt idx="1829">
                  <c:v>38391</c:v>
                </c:pt>
                <c:pt idx="1830">
                  <c:v>38392</c:v>
                </c:pt>
                <c:pt idx="1831">
                  <c:v>38393</c:v>
                </c:pt>
                <c:pt idx="1832">
                  <c:v>38394</c:v>
                </c:pt>
                <c:pt idx="1833">
                  <c:v>38397</c:v>
                </c:pt>
                <c:pt idx="1834">
                  <c:v>38398</c:v>
                </c:pt>
                <c:pt idx="1835">
                  <c:v>38399</c:v>
                </c:pt>
                <c:pt idx="1836">
                  <c:v>38400</c:v>
                </c:pt>
                <c:pt idx="1837">
                  <c:v>38401</c:v>
                </c:pt>
                <c:pt idx="1838">
                  <c:v>38404</c:v>
                </c:pt>
                <c:pt idx="1839">
                  <c:v>38405</c:v>
                </c:pt>
                <c:pt idx="1840">
                  <c:v>38406</c:v>
                </c:pt>
                <c:pt idx="1841">
                  <c:v>38407</c:v>
                </c:pt>
                <c:pt idx="1842">
                  <c:v>38408</c:v>
                </c:pt>
                <c:pt idx="1843">
                  <c:v>38411</c:v>
                </c:pt>
                <c:pt idx="1844">
                  <c:v>38412</c:v>
                </c:pt>
                <c:pt idx="1845">
                  <c:v>38413</c:v>
                </c:pt>
                <c:pt idx="1846">
                  <c:v>38414</c:v>
                </c:pt>
                <c:pt idx="1847">
                  <c:v>38415</c:v>
                </c:pt>
                <c:pt idx="1848">
                  <c:v>38418</c:v>
                </c:pt>
                <c:pt idx="1849">
                  <c:v>38419</c:v>
                </c:pt>
                <c:pt idx="1850">
                  <c:v>38420</c:v>
                </c:pt>
                <c:pt idx="1851">
                  <c:v>38421</c:v>
                </c:pt>
                <c:pt idx="1852">
                  <c:v>38422</c:v>
                </c:pt>
                <c:pt idx="1853">
                  <c:v>38425</c:v>
                </c:pt>
                <c:pt idx="1854">
                  <c:v>38426</c:v>
                </c:pt>
                <c:pt idx="1855">
                  <c:v>38427</c:v>
                </c:pt>
                <c:pt idx="1856">
                  <c:v>38428</c:v>
                </c:pt>
                <c:pt idx="1857">
                  <c:v>38429</c:v>
                </c:pt>
                <c:pt idx="1858">
                  <c:v>38432</c:v>
                </c:pt>
                <c:pt idx="1859">
                  <c:v>38433</c:v>
                </c:pt>
                <c:pt idx="1860">
                  <c:v>38434</c:v>
                </c:pt>
                <c:pt idx="1861">
                  <c:v>38435</c:v>
                </c:pt>
                <c:pt idx="1862">
                  <c:v>38439</c:v>
                </c:pt>
                <c:pt idx="1863">
                  <c:v>38440</c:v>
                </c:pt>
                <c:pt idx="1864">
                  <c:v>38441</c:v>
                </c:pt>
                <c:pt idx="1865">
                  <c:v>38442</c:v>
                </c:pt>
                <c:pt idx="1866">
                  <c:v>38443</c:v>
                </c:pt>
                <c:pt idx="1867">
                  <c:v>38446</c:v>
                </c:pt>
                <c:pt idx="1868">
                  <c:v>38447</c:v>
                </c:pt>
                <c:pt idx="1869">
                  <c:v>38448</c:v>
                </c:pt>
                <c:pt idx="1870">
                  <c:v>38449</c:v>
                </c:pt>
                <c:pt idx="1871">
                  <c:v>38450</c:v>
                </c:pt>
                <c:pt idx="1872">
                  <c:v>38453</c:v>
                </c:pt>
                <c:pt idx="1873">
                  <c:v>38454</c:v>
                </c:pt>
                <c:pt idx="1874">
                  <c:v>38455</c:v>
                </c:pt>
                <c:pt idx="1875">
                  <c:v>38456</c:v>
                </c:pt>
                <c:pt idx="1876">
                  <c:v>38457</c:v>
                </c:pt>
                <c:pt idx="1877">
                  <c:v>38460</c:v>
                </c:pt>
                <c:pt idx="1878">
                  <c:v>38461</c:v>
                </c:pt>
                <c:pt idx="1879">
                  <c:v>38462</c:v>
                </c:pt>
                <c:pt idx="1880">
                  <c:v>38463</c:v>
                </c:pt>
                <c:pt idx="1881">
                  <c:v>38464</c:v>
                </c:pt>
                <c:pt idx="1882">
                  <c:v>38467</c:v>
                </c:pt>
                <c:pt idx="1883">
                  <c:v>38468</c:v>
                </c:pt>
                <c:pt idx="1884">
                  <c:v>38469</c:v>
                </c:pt>
                <c:pt idx="1885">
                  <c:v>38470</c:v>
                </c:pt>
                <c:pt idx="1886">
                  <c:v>38471</c:v>
                </c:pt>
                <c:pt idx="1887">
                  <c:v>38474</c:v>
                </c:pt>
                <c:pt idx="1888">
                  <c:v>38475</c:v>
                </c:pt>
                <c:pt idx="1889">
                  <c:v>38476</c:v>
                </c:pt>
                <c:pt idx="1890">
                  <c:v>38477</c:v>
                </c:pt>
                <c:pt idx="1891">
                  <c:v>38478</c:v>
                </c:pt>
                <c:pt idx="1892">
                  <c:v>38481</c:v>
                </c:pt>
                <c:pt idx="1893">
                  <c:v>38482</c:v>
                </c:pt>
                <c:pt idx="1894">
                  <c:v>38483</c:v>
                </c:pt>
                <c:pt idx="1895">
                  <c:v>38484</c:v>
                </c:pt>
                <c:pt idx="1896">
                  <c:v>38485</c:v>
                </c:pt>
                <c:pt idx="1897">
                  <c:v>38488</c:v>
                </c:pt>
                <c:pt idx="1898">
                  <c:v>38489</c:v>
                </c:pt>
                <c:pt idx="1899">
                  <c:v>38490</c:v>
                </c:pt>
                <c:pt idx="1900">
                  <c:v>38491</c:v>
                </c:pt>
                <c:pt idx="1901">
                  <c:v>38492</c:v>
                </c:pt>
                <c:pt idx="1902">
                  <c:v>38495</c:v>
                </c:pt>
                <c:pt idx="1903">
                  <c:v>38496</c:v>
                </c:pt>
                <c:pt idx="1904">
                  <c:v>38497</c:v>
                </c:pt>
                <c:pt idx="1905">
                  <c:v>38498</c:v>
                </c:pt>
                <c:pt idx="1906">
                  <c:v>38499</c:v>
                </c:pt>
                <c:pt idx="1907">
                  <c:v>38502</c:v>
                </c:pt>
                <c:pt idx="1908">
                  <c:v>38503</c:v>
                </c:pt>
                <c:pt idx="1909">
                  <c:v>38504</c:v>
                </c:pt>
                <c:pt idx="1910">
                  <c:v>38505</c:v>
                </c:pt>
                <c:pt idx="1911">
                  <c:v>38506</c:v>
                </c:pt>
                <c:pt idx="1912">
                  <c:v>38509</c:v>
                </c:pt>
                <c:pt idx="1913">
                  <c:v>38510</c:v>
                </c:pt>
                <c:pt idx="1914">
                  <c:v>38511</c:v>
                </c:pt>
                <c:pt idx="1915">
                  <c:v>38512</c:v>
                </c:pt>
                <c:pt idx="1916">
                  <c:v>38513</c:v>
                </c:pt>
                <c:pt idx="1917">
                  <c:v>38516</c:v>
                </c:pt>
                <c:pt idx="1918">
                  <c:v>38517</c:v>
                </c:pt>
                <c:pt idx="1919">
                  <c:v>38518</c:v>
                </c:pt>
                <c:pt idx="1920">
                  <c:v>38519</c:v>
                </c:pt>
                <c:pt idx="1921">
                  <c:v>38520</c:v>
                </c:pt>
                <c:pt idx="1922">
                  <c:v>38523</c:v>
                </c:pt>
                <c:pt idx="1923">
                  <c:v>38524</c:v>
                </c:pt>
                <c:pt idx="1924">
                  <c:v>38525</c:v>
                </c:pt>
                <c:pt idx="1925">
                  <c:v>38526</c:v>
                </c:pt>
                <c:pt idx="1926">
                  <c:v>38527</c:v>
                </c:pt>
                <c:pt idx="1927">
                  <c:v>38530</c:v>
                </c:pt>
                <c:pt idx="1928">
                  <c:v>38531</c:v>
                </c:pt>
                <c:pt idx="1929">
                  <c:v>38532</c:v>
                </c:pt>
                <c:pt idx="1930">
                  <c:v>38533</c:v>
                </c:pt>
                <c:pt idx="1931">
                  <c:v>38534</c:v>
                </c:pt>
                <c:pt idx="1932">
                  <c:v>38537</c:v>
                </c:pt>
                <c:pt idx="1933">
                  <c:v>38538</c:v>
                </c:pt>
                <c:pt idx="1934">
                  <c:v>38539</c:v>
                </c:pt>
                <c:pt idx="1935">
                  <c:v>38540</c:v>
                </c:pt>
                <c:pt idx="1936">
                  <c:v>38541</c:v>
                </c:pt>
                <c:pt idx="1937">
                  <c:v>38544</c:v>
                </c:pt>
                <c:pt idx="1938">
                  <c:v>38545</c:v>
                </c:pt>
                <c:pt idx="1939">
                  <c:v>38546</c:v>
                </c:pt>
                <c:pt idx="1940">
                  <c:v>38547</c:v>
                </c:pt>
                <c:pt idx="1941">
                  <c:v>38548</c:v>
                </c:pt>
                <c:pt idx="1942">
                  <c:v>38551</c:v>
                </c:pt>
                <c:pt idx="1943">
                  <c:v>38552</c:v>
                </c:pt>
                <c:pt idx="1944">
                  <c:v>38553</c:v>
                </c:pt>
                <c:pt idx="1945">
                  <c:v>38554</c:v>
                </c:pt>
                <c:pt idx="1946">
                  <c:v>38555</c:v>
                </c:pt>
                <c:pt idx="1947">
                  <c:v>38558</c:v>
                </c:pt>
                <c:pt idx="1948">
                  <c:v>38559</c:v>
                </c:pt>
                <c:pt idx="1949">
                  <c:v>38560</c:v>
                </c:pt>
                <c:pt idx="1950">
                  <c:v>38561</c:v>
                </c:pt>
                <c:pt idx="1951">
                  <c:v>38562</c:v>
                </c:pt>
                <c:pt idx="1952">
                  <c:v>38565</c:v>
                </c:pt>
                <c:pt idx="1953">
                  <c:v>38566</c:v>
                </c:pt>
                <c:pt idx="1954">
                  <c:v>38567</c:v>
                </c:pt>
                <c:pt idx="1955">
                  <c:v>38568</c:v>
                </c:pt>
                <c:pt idx="1956">
                  <c:v>38569</c:v>
                </c:pt>
                <c:pt idx="1957">
                  <c:v>38572</c:v>
                </c:pt>
                <c:pt idx="1958">
                  <c:v>38573</c:v>
                </c:pt>
                <c:pt idx="1959">
                  <c:v>38574</c:v>
                </c:pt>
                <c:pt idx="1960">
                  <c:v>38575</c:v>
                </c:pt>
                <c:pt idx="1961">
                  <c:v>38576</c:v>
                </c:pt>
                <c:pt idx="1962">
                  <c:v>38579</c:v>
                </c:pt>
                <c:pt idx="1963">
                  <c:v>38580</c:v>
                </c:pt>
                <c:pt idx="1964">
                  <c:v>38581</c:v>
                </c:pt>
                <c:pt idx="1965">
                  <c:v>38582</c:v>
                </c:pt>
                <c:pt idx="1966">
                  <c:v>38583</c:v>
                </c:pt>
                <c:pt idx="1967">
                  <c:v>38586</c:v>
                </c:pt>
                <c:pt idx="1968">
                  <c:v>38587</c:v>
                </c:pt>
                <c:pt idx="1969">
                  <c:v>38588</c:v>
                </c:pt>
                <c:pt idx="1970">
                  <c:v>38589</c:v>
                </c:pt>
                <c:pt idx="1971">
                  <c:v>38590</c:v>
                </c:pt>
                <c:pt idx="1972">
                  <c:v>38593</c:v>
                </c:pt>
                <c:pt idx="1973">
                  <c:v>38594</c:v>
                </c:pt>
                <c:pt idx="1974">
                  <c:v>38595</c:v>
                </c:pt>
                <c:pt idx="1975">
                  <c:v>38596</c:v>
                </c:pt>
                <c:pt idx="1976">
                  <c:v>38597</c:v>
                </c:pt>
                <c:pt idx="1977">
                  <c:v>38600</c:v>
                </c:pt>
                <c:pt idx="1978">
                  <c:v>38601</c:v>
                </c:pt>
                <c:pt idx="1979">
                  <c:v>38602</c:v>
                </c:pt>
                <c:pt idx="1980">
                  <c:v>38603</c:v>
                </c:pt>
                <c:pt idx="1981">
                  <c:v>38604</c:v>
                </c:pt>
                <c:pt idx="1982">
                  <c:v>38607</c:v>
                </c:pt>
                <c:pt idx="1983">
                  <c:v>38608</c:v>
                </c:pt>
                <c:pt idx="1984">
                  <c:v>38609</c:v>
                </c:pt>
                <c:pt idx="1985">
                  <c:v>38610</c:v>
                </c:pt>
                <c:pt idx="1986">
                  <c:v>38611</c:v>
                </c:pt>
                <c:pt idx="1987">
                  <c:v>38614</c:v>
                </c:pt>
                <c:pt idx="1988">
                  <c:v>38615</c:v>
                </c:pt>
                <c:pt idx="1989">
                  <c:v>38616</c:v>
                </c:pt>
                <c:pt idx="1990">
                  <c:v>38617</c:v>
                </c:pt>
                <c:pt idx="1991">
                  <c:v>38618</c:v>
                </c:pt>
                <c:pt idx="1992">
                  <c:v>38621</c:v>
                </c:pt>
                <c:pt idx="1993">
                  <c:v>38622</c:v>
                </c:pt>
                <c:pt idx="1994">
                  <c:v>38623</c:v>
                </c:pt>
                <c:pt idx="1995">
                  <c:v>38624</c:v>
                </c:pt>
                <c:pt idx="1996">
                  <c:v>38625</c:v>
                </c:pt>
                <c:pt idx="1997">
                  <c:v>38628</c:v>
                </c:pt>
                <c:pt idx="1998">
                  <c:v>38629</c:v>
                </c:pt>
                <c:pt idx="1999">
                  <c:v>38630</c:v>
                </c:pt>
                <c:pt idx="2000">
                  <c:v>38631</c:v>
                </c:pt>
                <c:pt idx="2001">
                  <c:v>38632</c:v>
                </c:pt>
                <c:pt idx="2002">
                  <c:v>38635</c:v>
                </c:pt>
                <c:pt idx="2003">
                  <c:v>38636</c:v>
                </c:pt>
                <c:pt idx="2004">
                  <c:v>38637</c:v>
                </c:pt>
                <c:pt idx="2005">
                  <c:v>38638</c:v>
                </c:pt>
                <c:pt idx="2006">
                  <c:v>38639</c:v>
                </c:pt>
                <c:pt idx="2007">
                  <c:v>38642</c:v>
                </c:pt>
                <c:pt idx="2008">
                  <c:v>38643</c:v>
                </c:pt>
                <c:pt idx="2009">
                  <c:v>38644</c:v>
                </c:pt>
                <c:pt idx="2010">
                  <c:v>38645</c:v>
                </c:pt>
                <c:pt idx="2011">
                  <c:v>38646</c:v>
                </c:pt>
                <c:pt idx="2012">
                  <c:v>38649</c:v>
                </c:pt>
                <c:pt idx="2013">
                  <c:v>38650</c:v>
                </c:pt>
                <c:pt idx="2014">
                  <c:v>38651</c:v>
                </c:pt>
                <c:pt idx="2015">
                  <c:v>38652</c:v>
                </c:pt>
                <c:pt idx="2016">
                  <c:v>38653</c:v>
                </c:pt>
                <c:pt idx="2017">
                  <c:v>38656</c:v>
                </c:pt>
                <c:pt idx="2018">
                  <c:v>38657</c:v>
                </c:pt>
                <c:pt idx="2019">
                  <c:v>38658</c:v>
                </c:pt>
                <c:pt idx="2020">
                  <c:v>38659</c:v>
                </c:pt>
                <c:pt idx="2021">
                  <c:v>38660</c:v>
                </c:pt>
                <c:pt idx="2022">
                  <c:v>38663</c:v>
                </c:pt>
                <c:pt idx="2023">
                  <c:v>38664</c:v>
                </c:pt>
                <c:pt idx="2024">
                  <c:v>38665</c:v>
                </c:pt>
                <c:pt idx="2025">
                  <c:v>38666</c:v>
                </c:pt>
                <c:pt idx="2026">
                  <c:v>38667</c:v>
                </c:pt>
                <c:pt idx="2027">
                  <c:v>38670</c:v>
                </c:pt>
                <c:pt idx="2028">
                  <c:v>38671</c:v>
                </c:pt>
                <c:pt idx="2029">
                  <c:v>38672</c:v>
                </c:pt>
                <c:pt idx="2030">
                  <c:v>38673</c:v>
                </c:pt>
                <c:pt idx="2031">
                  <c:v>38674</c:v>
                </c:pt>
                <c:pt idx="2032">
                  <c:v>38677</c:v>
                </c:pt>
                <c:pt idx="2033">
                  <c:v>38678</c:v>
                </c:pt>
                <c:pt idx="2034">
                  <c:v>38679</c:v>
                </c:pt>
                <c:pt idx="2035">
                  <c:v>38680</c:v>
                </c:pt>
                <c:pt idx="2036">
                  <c:v>38681</c:v>
                </c:pt>
                <c:pt idx="2037">
                  <c:v>38684</c:v>
                </c:pt>
                <c:pt idx="2038">
                  <c:v>38685</c:v>
                </c:pt>
                <c:pt idx="2039">
                  <c:v>38686</c:v>
                </c:pt>
                <c:pt idx="2040">
                  <c:v>38687</c:v>
                </c:pt>
                <c:pt idx="2041">
                  <c:v>38688</c:v>
                </c:pt>
                <c:pt idx="2042">
                  <c:v>38691</c:v>
                </c:pt>
                <c:pt idx="2043">
                  <c:v>38692</c:v>
                </c:pt>
                <c:pt idx="2044">
                  <c:v>38693</c:v>
                </c:pt>
                <c:pt idx="2045">
                  <c:v>38694</c:v>
                </c:pt>
                <c:pt idx="2046">
                  <c:v>38695</c:v>
                </c:pt>
                <c:pt idx="2047">
                  <c:v>38698</c:v>
                </c:pt>
                <c:pt idx="2048">
                  <c:v>38699</c:v>
                </c:pt>
                <c:pt idx="2049">
                  <c:v>38700</c:v>
                </c:pt>
                <c:pt idx="2050">
                  <c:v>38701</c:v>
                </c:pt>
                <c:pt idx="2051">
                  <c:v>38702</c:v>
                </c:pt>
                <c:pt idx="2052">
                  <c:v>38705</c:v>
                </c:pt>
                <c:pt idx="2053">
                  <c:v>38706</c:v>
                </c:pt>
                <c:pt idx="2054">
                  <c:v>38707</c:v>
                </c:pt>
                <c:pt idx="2055">
                  <c:v>38708</c:v>
                </c:pt>
                <c:pt idx="2056">
                  <c:v>38709</c:v>
                </c:pt>
                <c:pt idx="2057">
                  <c:v>38712</c:v>
                </c:pt>
                <c:pt idx="2058">
                  <c:v>38713</c:v>
                </c:pt>
                <c:pt idx="2059">
                  <c:v>38714</c:v>
                </c:pt>
                <c:pt idx="2060">
                  <c:v>38715</c:v>
                </c:pt>
                <c:pt idx="2061">
                  <c:v>38716</c:v>
                </c:pt>
                <c:pt idx="2062">
                  <c:v>38720</c:v>
                </c:pt>
                <c:pt idx="2063">
                  <c:v>38721</c:v>
                </c:pt>
                <c:pt idx="2064">
                  <c:v>38722</c:v>
                </c:pt>
                <c:pt idx="2065">
                  <c:v>38723</c:v>
                </c:pt>
                <c:pt idx="2066">
                  <c:v>38726</c:v>
                </c:pt>
                <c:pt idx="2067">
                  <c:v>38727</c:v>
                </c:pt>
                <c:pt idx="2068">
                  <c:v>38728</c:v>
                </c:pt>
                <c:pt idx="2069">
                  <c:v>38729</c:v>
                </c:pt>
                <c:pt idx="2070">
                  <c:v>38730</c:v>
                </c:pt>
                <c:pt idx="2071">
                  <c:v>38733</c:v>
                </c:pt>
                <c:pt idx="2072">
                  <c:v>38734</c:v>
                </c:pt>
                <c:pt idx="2073">
                  <c:v>38735</c:v>
                </c:pt>
                <c:pt idx="2074">
                  <c:v>38736</c:v>
                </c:pt>
                <c:pt idx="2075">
                  <c:v>38737</c:v>
                </c:pt>
                <c:pt idx="2076">
                  <c:v>38740</c:v>
                </c:pt>
                <c:pt idx="2077">
                  <c:v>38741</c:v>
                </c:pt>
                <c:pt idx="2078">
                  <c:v>38742</c:v>
                </c:pt>
                <c:pt idx="2079">
                  <c:v>38743</c:v>
                </c:pt>
                <c:pt idx="2080">
                  <c:v>38744</c:v>
                </c:pt>
                <c:pt idx="2081">
                  <c:v>38747</c:v>
                </c:pt>
                <c:pt idx="2082">
                  <c:v>38748</c:v>
                </c:pt>
                <c:pt idx="2083">
                  <c:v>38749</c:v>
                </c:pt>
                <c:pt idx="2084">
                  <c:v>38750</c:v>
                </c:pt>
                <c:pt idx="2085">
                  <c:v>38751</c:v>
                </c:pt>
                <c:pt idx="2086">
                  <c:v>38754</c:v>
                </c:pt>
                <c:pt idx="2087">
                  <c:v>38755</c:v>
                </c:pt>
                <c:pt idx="2088">
                  <c:v>38756</c:v>
                </c:pt>
                <c:pt idx="2089">
                  <c:v>38757</c:v>
                </c:pt>
                <c:pt idx="2090">
                  <c:v>38758</c:v>
                </c:pt>
                <c:pt idx="2091">
                  <c:v>38761</c:v>
                </c:pt>
                <c:pt idx="2092">
                  <c:v>38762</c:v>
                </c:pt>
                <c:pt idx="2093">
                  <c:v>38763</c:v>
                </c:pt>
                <c:pt idx="2094">
                  <c:v>38764</c:v>
                </c:pt>
                <c:pt idx="2095">
                  <c:v>38765</c:v>
                </c:pt>
                <c:pt idx="2096">
                  <c:v>38768</c:v>
                </c:pt>
                <c:pt idx="2097">
                  <c:v>38769</c:v>
                </c:pt>
                <c:pt idx="2098">
                  <c:v>38770</c:v>
                </c:pt>
                <c:pt idx="2099">
                  <c:v>38771</c:v>
                </c:pt>
                <c:pt idx="2100">
                  <c:v>38772</c:v>
                </c:pt>
                <c:pt idx="2101">
                  <c:v>38775</c:v>
                </c:pt>
                <c:pt idx="2102">
                  <c:v>38776</c:v>
                </c:pt>
                <c:pt idx="2103">
                  <c:v>38777</c:v>
                </c:pt>
                <c:pt idx="2104">
                  <c:v>38778</c:v>
                </c:pt>
                <c:pt idx="2105">
                  <c:v>38779</c:v>
                </c:pt>
                <c:pt idx="2106">
                  <c:v>38782</c:v>
                </c:pt>
                <c:pt idx="2107">
                  <c:v>38783</c:v>
                </c:pt>
                <c:pt idx="2108">
                  <c:v>38784</c:v>
                </c:pt>
                <c:pt idx="2109">
                  <c:v>38785</c:v>
                </c:pt>
                <c:pt idx="2110">
                  <c:v>38786</c:v>
                </c:pt>
                <c:pt idx="2111">
                  <c:v>38789</c:v>
                </c:pt>
                <c:pt idx="2112">
                  <c:v>38790</c:v>
                </c:pt>
                <c:pt idx="2113">
                  <c:v>38791</c:v>
                </c:pt>
                <c:pt idx="2114">
                  <c:v>38792</c:v>
                </c:pt>
                <c:pt idx="2115">
                  <c:v>38793</c:v>
                </c:pt>
                <c:pt idx="2116">
                  <c:v>38796</c:v>
                </c:pt>
                <c:pt idx="2117">
                  <c:v>38797</c:v>
                </c:pt>
                <c:pt idx="2118">
                  <c:v>38798</c:v>
                </c:pt>
                <c:pt idx="2119">
                  <c:v>38799</c:v>
                </c:pt>
                <c:pt idx="2120">
                  <c:v>38800</c:v>
                </c:pt>
                <c:pt idx="2121">
                  <c:v>38803</c:v>
                </c:pt>
                <c:pt idx="2122">
                  <c:v>38804</c:v>
                </c:pt>
                <c:pt idx="2123">
                  <c:v>38805</c:v>
                </c:pt>
                <c:pt idx="2124">
                  <c:v>38806</c:v>
                </c:pt>
                <c:pt idx="2125">
                  <c:v>38807</c:v>
                </c:pt>
                <c:pt idx="2126">
                  <c:v>38810</c:v>
                </c:pt>
                <c:pt idx="2127">
                  <c:v>38811</c:v>
                </c:pt>
                <c:pt idx="2128">
                  <c:v>38812</c:v>
                </c:pt>
                <c:pt idx="2129">
                  <c:v>38813</c:v>
                </c:pt>
                <c:pt idx="2130">
                  <c:v>38814</c:v>
                </c:pt>
                <c:pt idx="2131">
                  <c:v>38817</c:v>
                </c:pt>
                <c:pt idx="2132">
                  <c:v>38818</c:v>
                </c:pt>
                <c:pt idx="2133">
                  <c:v>38819</c:v>
                </c:pt>
                <c:pt idx="2134">
                  <c:v>38820</c:v>
                </c:pt>
                <c:pt idx="2135">
                  <c:v>38824</c:v>
                </c:pt>
                <c:pt idx="2136">
                  <c:v>38825</c:v>
                </c:pt>
                <c:pt idx="2137">
                  <c:v>38826</c:v>
                </c:pt>
                <c:pt idx="2138">
                  <c:v>38827</c:v>
                </c:pt>
                <c:pt idx="2139">
                  <c:v>38828</c:v>
                </c:pt>
                <c:pt idx="2140">
                  <c:v>38831</c:v>
                </c:pt>
                <c:pt idx="2141">
                  <c:v>38832</c:v>
                </c:pt>
                <c:pt idx="2142">
                  <c:v>38833</c:v>
                </c:pt>
                <c:pt idx="2143">
                  <c:v>38834</c:v>
                </c:pt>
                <c:pt idx="2144">
                  <c:v>38835</c:v>
                </c:pt>
                <c:pt idx="2145">
                  <c:v>38838</c:v>
                </c:pt>
                <c:pt idx="2146">
                  <c:v>38839</c:v>
                </c:pt>
                <c:pt idx="2147">
                  <c:v>38840</c:v>
                </c:pt>
                <c:pt idx="2148">
                  <c:v>38841</c:v>
                </c:pt>
                <c:pt idx="2149">
                  <c:v>38842</c:v>
                </c:pt>
                <c:pt idx="2150">
                  <c:v>38845</c:v>
                </c:pt>
                <c:pt idx="2151">
                  <c:v>38846</c:v>
                </c:pt>
                <c:pt idx="2152">
                  <c:v>38847</c:v>
                </c:pt>
                <c:pt idx="2153">
                  <c:v>38848</c:v>
                </c:pt>
                <c:pt idx="2154">
                  <c:v>38849</c:v>
                </c:pt>
                <c:pt idx="2155">
                  <c:v>38852</c:v>
                </c:pt>
                <c:pt idx="2156">
                  <c:v>38853</c:v>
                </c:pt>
                <c:pt idx="2157">
                  <c:v>38854</c:v>
                </c:pt>
                <c:pt idx="2158">
                  <c:v>38855</c:v>
                </c:pt>
                <c:pt idx="2159">
                  <c:v>38856</c:v>
                </c:pt>
                <c:pt idx="2160">
                  <c:v>38859</c:v>
                </c:pt>
                <c:pt idx="2161">
                  <c:v>38860</c:v>
                </c:pt>
                <c:pt idx="2162">
                  <c:v>38861</c:v>
                </c:pt>
                <c:pt idx="2163">
                  <c:v>38862</c:v>
                </c:pt>
                <c:pt idx="2164">
                  <c:v>38863</c:v>
                </c:pt>
                <c:pt idx="2165">
                  <c:v>38866</c:v>
                </c:pt>
                <c:pt idx="2166">
                  <c:v>38867</c:v>
                </c:pt>
                <c:pt idx="2167">
                  <c:v>38868</c:v>
                </c:pt>
                <c:pt idx="2168">
                  <c:v>38869</c:v>
                </c:pt>
                <c:pt idx="2169">
                  <c:v>38870</c:v>
                </c:pt>
                <c:pt idx="2170">
                  <c:v>38873</c:v>
                </c:pt>
                <c:pt idx="2171">
                  <c:v>38874</c:v>
                </c:pt>
                <c:pt idx="2172">
                  <c:v>38875</c:v>
                </c:pt>
                <c:pt idx="2173">
                  <c:v>38876</c:v>
                </c:pt>
                <c:pt idx="2174">
                  <c:v>38877</c:v>
                </c:pt>
                <c:pt idx="2175">
                  <c:v>38880</c:v>
                </c:pt>
                <c:pt idx="2176">
                  <c:v>38881</c:v>
                </c:pt>
                <c:pt idx="2177">
                  <c:v>38882</c:v>
                </c:pt>
                <c:pt idx="2178">
                  <c:v>38883</c:v>
                </c:pt>
                <c:pt idx="2179">
                  <c:v>38884</c:v>
                </c:pt>
                <c:pt idx="2180">
                  <c:v>38887</c:v>
                </c:pt>
                <c:pt idx="2181">
                  <c:v>38888</c:v>
                </c:pt>
                <c:pt idx="2182">
                  <c:v>38889</c:v>
                </c:pt>
                <c:pt idx="2183">
                  <c:v>38890</c:v>
                </c:pt>
                <c:pt idx="2184">
                  <c:v>38891</c:v>
                </c:pt>
                <c:pt idx="2185">
                  <c:v>38894</c:v>
                </c:pt>
                <c:pt idx="2186">
                  <c:v>38895</c:v>
                </c:pt>
                <c:pt idx="2187">
                  <c:v>38896</c:v>
                </c:pt>
                <c:pt idx="2188">
                  <c:v>38897</c:v>
                </c:pt>
                <c:pt idx="2189">
                  <c:v>38898</c:v>
                </c:pt>
                <c:pt idx="2190">
                  <c:v>38901</c:v>
                </c:pt>
                <c:pt idx="2191">
                  <c:v>38902</c:v>
                </c:pt>
                <c:pt idx="2192">
                  <c:v>38903</c:v>
                </c:pt>
                <c:pt idx="2193">
                  <c:v>38904</c:v>
                </c:pt>
                <c:pt idx="2194">
                  <c:v>38905</c:v>
                </c:pt>
                <c:pt idx="2195">
                  <c:v>38908</c:v>
                </c:pt>
                <c:pt idx="2196">
                  <c:v>38909</c:v>
                </c:pt>
                <c:pt idx="2197">
                  <c:v>38910</c:v>
                </c:pt>
                <c:pt idx="2198">
                  <c:v>38911</c:v>
                </c:pt>
                <c:pt idx="2199">
                  <c:v>38912</c:v>
                </c:pt>
                <c:pt idx="2200">
                  <c:v>38915</c:v>
                </c:pt>
                <c:pt idx="2201">
                  <c:v>38916</c:v>
                </c:pt>
                <c:pt idx="2202">
                  <c:v>38917</c:v>
                </c:pt>
                <c:pt idx="2203">
                  <c:v>38918</c:v>
                </c:pt>
                <c:pt idx="2204">
                  <c:v>38919</c:v>
                </c:pt>
                <c:pt idx="2205">
                  <c:v>38922</c:v>
                </c:pt>
                <c:pt idx="2206">
                  <c:v>38923</c:v>
                </c:pt>
                <c:pt idx="2207">
                  <c:v>38924</c:v>
                </c:pt>
                <c:pt idx="2208">
                  <c:v>38925</c:v>
                </c:pt>
                <c:pt idx="2209">
                  <c:v>38926</c:v>
                </c:pt>
                <c:pt idx="2210">
                  <c:v>38929</c:v>
                </c:pt>
                <c:pt idx="2211">
                  <c:v>38930</c:v>
                </c:pt>
                <c:pt idx="2212">
                  <c:v>38931</c:v>
                </c:pt>
                <c:pt idx="2213">
                  <c:v>38932</c:v>
                </c:pt>
                <c:pt idx="2214">
                  <c:v>38933</c:v>
                </c:pt>
                <c:pt idx="2215">
                  <c:v>38936</c:v>
                </c:pt>
                <c:pt idx="2216">
                  <c:v>38937</c:v>
                </c:pt>
                <c:pt idx="2217">
                  <c:v>38938</c:v>
                </c:pt>
                <c:pt idx="2218">
                  <c:v>38939</c:v>
                </c:pt>
                <c:pt idx="2219">
                  <c:v>38940</c:v>
                </c:pt>
                <c:pt idx="2220">
                  <c:v>38943</c:v>
                </c:pt>
                <c:pt idx="2221">
                  <c:v>38944</c:v>
                </c:pt>
                <c:pt idx="2222">
                  <c:v>38945</c:v>
                </c:pt>
                <c:pt idx="2223">
                  <c:v>38946</c:v>
                </c:pt>
                <c:pt idx="2224">
                  <c:v>38947</c:v>
                </c:pt>
                <c:pt idx="2225">
                  <c:v>38950</c:v>
                </c:pt>
                <c:pt idx="2226">
                  <c:v>38951</c:v>
                </c:pt>
                <c:pt idx="2227">
                  <c:v>38952</c:v>
                </c:pt>
                <c:pt idx="2228">
                  <c:v>38953</c:v>
                </c:pt>
                <c:pt idx="2229">
                  <c:v>38954</c:v>
                </c:pt>
                <c:pt idx="2230">
                  <c:v>38957</c:v>
                </c:pt>
                <c:pt idx="2231">
                  <c:v>38958</c:v>
                </c:pt>
                <c:pt idx="2232">
                  <c:v>38959</c:v>
                </c:pt>
                <c:pt idx="2233">
                  <c:v>38960</c:v>
                </c:pt>
                <c:pt idx="2234">
                  <c:v>38961</c:v>
                </c:pt>
                <c:pt idx="2235">
                  <c:v>38964</c:v>
                </c:pt>
                <c:pt idx="2236">
                  <c:v>38965</c:v>
                </c:pt>
                <c:pt idx="2237">
                  <c:v>38966</c:v>
                </c:pt>
                <c:pt idx="2238">
                  <c:v>38967</c:v>
                </c:pt>
                <c:pt idx="2239">
                  <c:v>38968</c:v>
                </c:pt>
                <c:pt idx="2240">
                  <c:v>38971</c:v>
                </c:pt>
                <c:pt idx="2241">
                  <c:v>38972</c:v>
                </c:pt>
                <c:pt idx="2242">
                  <c:v>38973</c:v>
                </c:pt>
                <c:pt idx="2243">
                  <c:v>38974</c:v>
                </c:pt>
                <c:pt idx="2244">
                  <c:v>38975</c:v>
                </c:pt>
                <c:pt idx="2245">
                  <c:v>38978</c:v>
                </c:pt>
                <c:pt idx="2246">
                  <c:v>38979</c:v>
                </c:pt>
                <c:pt idx="2247">
                  <c:v>38980</c:v>
                </c:pt>
                <c:pt idx="2248">
                  <c:v>38981</c:v>
                </c:pt>
                <c:pt idx="2249">
                  <c:v>38982</c:v>
                </c:pt>
                <c:pt idx="2250">
                  <c:v>38985</c:v>
                </c:pt>
                <c:pt idx="2251">
                  <c:v>38986</c:v>
                </c:pt>
                <c:pt idx="2252">
                  <c:v>38987</c:v>
                </c:pt>
                <c:pt idx="2253">
                  <c:v>38988</c:v>
                </c:pt>
                <c:pt idx="2254">
                  <c:v>38989</c:v>
                </c:pt>
                <c:pt idx="2255">
                  <c:v>38992</c:v>
                </c:pt>
                <c:pt idx="2256">
                  <c:v>38993</c:v>
                </c:pt>
                <c:pt idx="2257">
                  <c:v>38994</c:v>
                </c:pt>
                <c:pt idx="2258">
                  <c:v>38995</c:v>
                </c:pt>
                <c:pt idx="2259">
                  <c:v>38996</c:v>
                </c:pt>
                <c:pt idx="2260">
                  <c:v>38999</c:v>
                </c:pt>
                <c:pt idx="2261">
                  <c:v>39000</c:v>
                </c:pt>
                <c:pt idx="2262">
                  <c:v>39001</c:v>
                </c:pt>
                <c:pt idx="2263">
                  <c:v>39002</c:v>
                </c:pt>
                <c:pt idx="2264">
                  <c:v>39003</c:v>
                </c:pt>
                <c:pt idx="2265">
                  <c:v>39006</c:v>
                </c:pt>
                <c:pt idx="2266">
                  <c:v>39007</c:v>
                </c:pt>
                <c:pt idx="2267">
                  <c:v>39008</c:v>
                </c:pt>
                <c:pt idx="2268">
                  <c:v>39009</c:v>
                </c:pt>
                <c:pt idx="2269">
                  <c:v>39010</c:v>
                </c:pt>
                <c:pt idx="2270">
                  <c:v>39013</c:v>
                </c:pt>
                <c:pt idx="2271">
                  <c:v>39014</c:v>
                </c:pt>
                <c:pt idx="2272">
                  <c:v>39015</c:v>
                </c:pt>
                <c:pt idx="2273">
                  <c:v>39016</c:v>
                </c:pt>
                <c:pt idx="2274">
                  <c:v>39017</c:v>
                </c:pt>
                <c:pt idx="2275">
                  <c:v>39020</c:v>
                </c:pt>
                <c:pt idx="2276">
                  <c:v>39021</c:v>
                </c:pt>
                <c:pt idx="2277">
                  <c:v>39022</c:v>
                </c:pt>
                <c:pt idx="2278">
                  <c:v>39023</c:v>
                </c:pt>
                <c:pt idx="2279">
                  <c:v>39024</c:v>
                </c:pt>
                <c:pt idx="2280">
                  <c:v>39027</c:v>
                </c:pt>
                <c:pt idx="2281">
                  <c:v>39028</c:v>
                </c:pt>
                <c:pt idx="2282">
                  <c:v>39029</c:v>
                </c:pt>
                <c:pt idx="2283">
                  <c:v>39030</c:v>
                </c:pt>
                <c:pt idx="2284">
                  <c:v>39031</c:v>
                </c:pt>
                <c:pt idx="2285">
                  <c:v>39034</c:v>
                </c:pt>
                <c:pt idx="2286">
                  <c:v>39035</c:v>
                </c:pt>
                <c:pt idx="2287">
                  <c:v>39036</c:v>
                </c:pt>
                <c:pt idx="2288">
                  <c:v>39037</c:v>
                </c:pt>
                <c:pt idx="2289">
                  <c:v>39038</c:v>
                </c:pt>
                <c:pt idx="2290">
                  <c:v>39041</c:v>
                </c:pt>
                <c:pt idx="2291">
                  <c:v>39042</c:v>
                </c:pt>
                <c:pt idx="2292">
                  <c:v>39043</c:v>
                </c:pt>
                <c:pt idx="2293">
                  <c:v>39044</c:v>
                </c:pt>
                <c:pt idx="2294">
                  <c:v>39045</c:v>
                </c:pt>
                <c:pt idx="2295">
                  <c:v>39048</c:v>
                </c:pt>
                <c:pt idx="2296">
                  <c:v>39049</c:v>
                </c:pt>
                <c:pt idx="2297">
                  <c:v>39050</c:v>
                </c:pt>
                <c:pt idx="2298">
                  <c:v>39051</c:v>
                </c:pt>
                <c:pt idx="2299">
                  <c:v>39052</c:v>
                </c:pt>
                <c:pt idx="2300">
                  <c:v>39055</c:v>
                </c:pt>
                <c:pt idx="2301">
                  <c:v>39056</c:v>
                </c:pt>
                <c:pt idx="2302">
                  <c:v>39057</c:v>
                </c:pt>
                <c:pt idx="2303">
                  <c:v>39058</c:v>
                </c:pt>
                <c:pt idx="2304">
                  <c:v>39059</c:v>
                </c:pt>
                <c:pt idx="2305">
                  <c:v>39062</c:v>
                </c:pt>
                <c:pt idx="2306">
                  <c:v>39063</c:v>
                </c:pt>
                <c:pt idx="2307">
                  <c:v>39064</c:v>
                </c:pt>
                <c:pt idx="2308">
                  <c:v>39065</c:v>
                </c:pt>
                <c:pt idx="2309">
                  <c:v>39066</c:v>
                </c:pt>
                <c:pt idx="2310">
                  <c:v>39069</c:v>
                </c:pt>
                <c:pt idx="2311">
                  <c:v>39070</c:v>
                </c:pt>
                <c:pt idx="2312">
                  <c:v>39071</c:v>
                </c:pt>
                <c:pt idx="2313">
                  <c:v>39072</c:v>
                </c:pt>
                <c:pt idx="2314">
                  <c:v>39073</c:v>
                </c:pt>
                <c:pt idx="2315">
                  <c:v>39077</c:v>
                </c:pt>
                <c:pt idx="2316">
                  <c:v>39078</c:v>
                </c:pt>
                <c:pt idx="2317">
                  <c:v>39079</c:v>
                </c:pt>
                <c:pt idx="2318">
                  <c:v>39080</c:v>
                </c:pt>
                <c:pt idx="2319">
                  <c:v>39084</c:v>
                </c:pt>
                <c:pt idx="2320">
                  <c:v>39085</c:v>
                </c:pt>
                <c:pt idx="2321">
                  <c:v>39086</c:v>
                </c:pt>
                <c:pt idx="2322">
                  <c:v>39087</c:v>
                </c:pt>
                <c:pt idx="2323">
                  <c:v>39090</c:v>
                </c:pt>
                <c:pt idx="2324">
                  <c:v>39091</c:v>
                </c:pt>
                <c:pt idx="2325">
                  <c:v>39092</c:v>
                </c:pt>
                <c:pt idx="2326">
                  <c:v>39093</c:v>
                </c:pt>
                <c:pt idx="2327">
                  <c:v>39094</c:v>
                </c:pt>
                <c:pt idx="2328">
                  <c:v>39098</c:v>
                </c:pt>
                <c:pt idx="2329">
                  <c:v>39099</c:v>
                </c:pt>
                <c:pt idx="2330">
                  <c:v>39100</c:v>
                </c:pt>
                <c:pt idx="2331">
                  <c:v>39101</c:v>
                </c:pt>
                <c:pt idx="2332">
                  <c:v>39104</c:v>
                </c:pt>
                <c:pt idx="2333">
                  <c:v>39105</c:v>
                </c:pt>
                <c:pt idx="2334">
                  <c:v>39106</c:v>
                </c:pt>
                <c:pt idx="2335">
                  <c:v>39107</c:v>
                </c:pt>
                <c:pt idx="2336">
                  <c:v>39108</c:v>
                </c:pt>
                <c:pt idx="2337">
                  <c:v>39111</c:v>
                </c:pt>
                <c:pt idx="2338">
                  <c:v>39112</c:v>
                </c:pt>
                <c:pt idx="2339">
                  <c:v>39113</c:v>
                </c:pt>
                <c:pt idx="2340">
                  <c:v>39114</c:v>
                </c:pt>
                <c:pt idx="2341">
                  <c:v>39115</c:v>
                </c:pt>
                <c:pt idx="2342">
                  <c:v>39118</c:v>
                </c:pt>
                <c:pt idx="2343">
                  <c:v>39119</c:v>
                </c:pt>
                <c:pt idx="2344">
                  <c:v>39120</c:v>
                </c:pt>
                <c:pt idx="2345">
                  <c:v>39121</c:v>
                </c:pt>
                <c:pt idx="2346">
                  <c:v>39122</c:v>
                </c:pt>
                <c:pt idx="2347">
                  <c:v>39125</c:v>
                </c:pt>
                <c:pt idx="2348">
                  <c:v>39126</c:v>
                </c:pt>
                <c:pt idx="2349">
                  <c:v>39127</c:v>
                </c:pt>
                <c:pt idx="2350">
                  <c:v>39128</c:v>
                </c:pt>
                <c:pt idx="2351">
                  <c:v>39129</c:v>
                </c:pt>
                <c:pt idx="2352">
                  <c:v>39133</c:v>
                </c:pt>
                <c:pt idx="2353">
                  <c:v>39134</c:v>
                </c:pt>
                <c:pt idx="2354">
                  <c:v>39135</c:v>
                </c:pt>
                <c:pt idx="2355">
                  <c:v>39136</c:v>
                </c:pt>
                <c:pt idx="2356">
                  <c:v>39139</c:v>
                </c:pt>
                <c:pt idx="2357">
                  <c:v>39140</c:v>
                </c:pt>
                <c:pt idx="2358">
                  <c:v>39141</c:v>
                </c:pt>
                <c:pt idx="2359">
                  <c:v>39142</c:v>
                </c:pt>
                <c:pt idx="2360">
                  <c:v>39143</c:v>
                </c:pt>
                <c:pt idx="2361">
                  <c:v>39146</c:v>
                </c:pt>
                <c:pt idx="2362">
                  <c:v>39147</c:v>
                </c:pt>
                <c:pt idx="2363">
                  <c:v>39148</c:v>
                </c:pt>
                <c:pt idx="2364">
                  <c:v>39149</c:v>
                </c:pt>
                <c:pt idx="2365">
                  <c:v>39150</c:v>
                </c:pt>
                <c:pt idx="2366">
                  <c:v>39153</c:v>
                </c:pt>
                <c:pt idx="2367">
                  <c:v>39154</c:v>
                </c:pt>
                <c:pt idx="2368">
                  <c:v>39155</c:v>
                </c:pt>
                <c:pt idx="2369">
                  <c:v>39156</c:v>
                </c:pt>
                <c:pt idx="2370">
                  <c:v>39157</c:v>
                </c:pt>
                <c:pt idx="2371">
                  <c:v>39160</c:v>
                </c:pt>
                <c:pt idx="2372">
                  <c:v>39161</c:v>
                </c:pt>
                <c:pt idx="2373">
                  <c:v>39162</c:v>
                </c:pt>
                <c:pt idx="2374">
                  <c:v>39163</c:v>
                </c:pt>
                <c:pt idx="2375">
                  <c:v>39164</c:v>
                </c:pt>
                <c:pt idx="2376">
                  <c:v>39167</c:v>
                </c:pt>
                <c:pt idx="2377">
                  <c:v>39168</c:v>
                </c:pt>
                <c:pt idx="2378">
                  <c:v>39169</c:v>
                </c:pt>
                <c:pt idx="2379">
                  <c:v>39170</c:v>
                </c:pt>
                <c:pt idx="2380">
                  <c:v>39171</c:v>
                </c:pt>
                <c:pt idx="2381">
                  <c:v>39174</c:v>
                </c:pt>
                <c:pt idx="2382">
                  <c:v>39175</c:v>
                </c:pt>
                <c:pt idx="2383">
                  <c:v>39176</c:v>
                </c:pt>
                <c:pt idx="2384">
                  <c:v>39177</c:v>
                </c:pt>
                <c:pt idx="2385">
                  <c:v>39181</c:v>
                </c:pt>
                <c:pt idx="2386">
                  <c:v>39182</c:v>
                </c:pt>
                <c:pt idx="2387">
                  <c:v>39183</c:v>
                </c:pt>
                <c:pt idx="2388">
                  <c:v>39184</c:v>
                </c:pt>
                <c:pt idx="2389">
                  <c:v>39185</c:v>
                </c:pt>
                <c:pt idx="2390">
                  <c:v>39188</c:v>
                </c:pt>
                <c:pt idx="2391">
                  <c:v>39189</c:v>
                </c:pt>
                <c:pt idx="2392">
                  <c:v>39190</c:v>
                </c:pt>
                <c:pt idx="2393">
                  <c:v>39191</c:v>
                </c:pt>
                <c:pt idx="2394">
                  <c:v>39192</c:v>
                </c:pt>
                <c:pt idx="2395">
                  <c:v>39195</c:v>
                </c:pt>
                <c:pt idx="2396">
                  <c:v>39196</c:v>
                </c:pt>
                <c:pt idx="2397">
                  <c:v>39197</c:v>
                </c:pt>
                <c:pt idx="2398">
                  <c:v>39198</c:v>
                </c:pt>
                <c:pt idx="2399">
                  <c:v>39199</c:v>
                </c:pt>
                <c:pt idx="2400">
                  <c:v>39202</c:v>
                </c:pt>
                <c:pt idx="2401">
                  <c:v>39203</c:v>
                </c:pt>
                <c:pt idx="2402">
                  <c:v>39204</c:v>
                </c:pt>
                <c:pt idx="2403">
                  <c:v>39205</c:v>
                </c:pt>
                <c:pt idx="2404">
                  <c:v>39206</c:v>
                </c:pt>
                <c:pt idx="2405">
                  <c:v>39209</c:v>
                </c:pt>
                <c:pt idx="2406">
                  <c:v>39210</c:v>
                </c:pt>
                <c:pt idx="2407">
                  <c:v>39211</c:v>
                </c:pt>
                <c:pt idx="2408">
                  <c:v>39212</c:v>
                </c:pt>
                <c:pt idx="2409">
                  <c:v>39213</c:v>
                </c:pt>
                <c:pt idx="2410">
                  <c:v>39216</c:v>
                </c:pt>
                <c:pt idx="2411">
                  <c:v>39217</c:v>
                </c:pt>
                <c:pt idx="2412">
                  <c:v>39218</c:v>
                </c:pt>
                <c:pt idx="2413">
                  <c:v>39219</c:v>
                </c:pt>
                <c:pt idx="2414">
                  <c:v>39220</c:v>
                </c:pt>
                <c:pt idx="2415">
                  <c:v>39223</c:v>
                </c:pt>
                <c:pt idx="2416">
                  <c:v>39224</c:v>
                </c:pt>
                <c:pt idx="2417">
                  <c:v>39225</c:v>
                </c:pt>
                <c:pt idx="2418">
                  <c:v>39226</c:v>
                </c:pt>
                <c:pt idx="2419">
                  <c:v>39227</c:v>
                </c:pt>
                <c:pt idx="2420">
                  <c:v>39231</c:v>
                </c:pt>
                <c:pt idx="2421">
                  <c:v>39232</c:v>
                </c:pt>
                <c:pt idx="2422">
                  <c:v>39233</c:v>
                </c:pt>
                <c:pt idx="2423">
                  <c:v>39234</c:v>
                </c:pt>
                <c:pt idx="2424">
                  <c:v>39237</c:v>
                </c:pt>
                <c:pt idx="2425">
                  <c:v>39238</c:v>
                </c:pt>
                <c:pt idx="2426">
                  <c:v>39239</c:v>
                </c:pt>
                <c:pt idx="2427">
                  <c:v>39240</c:v>
                </c:pt>
                <c:pt idx="2428">
                  <c:v>39241</c:v>
                </c:pt>
                <c:pt idx="2429">
                  <c:v>39244</c:v>
                </c:pt>
                <c:pt idx="2430">
                  <c:v>39245</c:v>
                </c:pt>
                <c:pt idx="2431">
                  <c:v>39246</c:v>
                </c:pt>
                <c:pt idx="2432">
                  <c:v>39247</c:v>
                </c:pt>
                <c:pt idx="2433">
                  <c:v>39248</c:v>
                </c:pt>
                <c:pt idx="2434">
                  <c:v>39251</c:v>
                </c:pt>
                <c:pt idx="2435">
                  <c:v>39252</c:v>
                </c:pt>
                <c:pt idx="2436">
                  <c:v>39253</c:v>
                </c:pt>
                <c:pt idx="2437">
                  <c:v>39254</c:v>
                </c:pt>
                <c:pt idx="2438">
                  <c:v>39255</c:v>
                </c:pt>
                <c:pt idx="2439">
                  <c:v>39258</c:v>
                </c:pt>
                <c:pt idx="2440">
                  <c:v>39259</c:v>
                </c:pt>
                <c:pt idx="2441">
                  <c:v>39260</c:v>
                </c:pt>
                <c:pt idx="2442">
                  <c:v>39261</c:v>
                </c:pt>
                <c:pt idx="2443">
                  <c:v>39262</c:v>
                </c:pt>
                <c:pt idx="2444">
                  <c:v>39265</c:v>
                </c:pt>
                <c:pt idx="2445">
                  <c:v>39266</c:v>
                </c:pt>
                <c:pt idx="2446">
                  <c:v>39268</c:v>
                </c:pt>
                <c:pt idx="2447">
                  <c:v>39269</c:v>
                </c:pt>
                <c:pt idx="2448">
                  <c:v>39272</c:v>
                </c:pt>
                <c:pt idx="2449">
                  <c:v>39273</c:v>
                </c:pt>
                <c:pt idx="2450">
                  <c:v>39274</c:v>
                </c:pt>
                <c:pt idx="2451">
                  <c:v>39275</c:v>
                </c:pt>
                <c:pt idx="2452">
                  <c:v>39276</c:v>
                </c:pt>
                <c:pt idx="2453">
                  <c:v>39279</c:v>
                </c:pt>
                <c:pt idx="2454">
                  <c:v>39280</c:v>
                </c:pt>
                <c:pt idx="2455">
                  <c:v>39281</c:v>
                </c:pt>
                <c:pt idx="2456">
                  <c:v>39282</c:v>
                </c:pt>
                <c:pt idx="2457">
                  <c:v>39283</c:v>
                </c:pt>
                <c:pt idx="2458">
                  <c:v>39286</c:v>
                </c:pt>
                <c:pt idx="2459">
                  <c:v>39287</c:v>
                </c:pt>
                <c:pt idx="2460">
                  <c:v>39288</c:v>
                </c:pt>
                <c:pt idx="2461">
                  <c:v>39289</c:v>
                </c:pt>
                <c:pt idx="2462">
                  <c:v>39290</c:v>
                </c:pt>
                <c:pt idx="2463">
                  <c:v>39293</c:v>
                </c:pt>
                <c:pt idx="2464">
                  <c:v>39294</c:v>
                </c:pt>
                <c:pt idx="2465">
                  <c:v>39295</c:v>
                </c:pt>
                <c:pt idx="2466">
                  <c:v>39296</c:v>
                </c:pt>
                <c:pt idx="2467">
                  <c:v>39297</c:v>
                </c:pt>
                <c:pt idx="2468">
                  <c:v>39300</c:v>
                </c:pt>
                <c:pt idx="2469">
                  <c:v>39301</c:v>
                </c:pt>
                <c:pt idx="2470">
                  <c:v>39302</c:v>
                </c:pt>
                <c:pt idx="2471">
                  <c:v>39303</c:v>
                </c:pt>
                <c:pt idx="2472">
                  <c:v>39304</c:v>
                </c:pt>
                <c:pt idx="2473">
                  <c:v>39307</c:v>
                </c:pt>
                <c:pt idx="2474">
                  <c:v>39308</c:v>
                </c:pt>
                <c:pt idx="2475">
                  <c:v>39309</c:v>
                </c:pt>
                <c:pt idx="2476">
                  <c:v>39310</c:v>
                </c:pt>
                <c:pt idx="2477">
                  <c:v>39311</c:v>
                </c:pt>
                <c:pt idx="2478">
                  <c:v>39314</c:v>
                </c:pt>
                <c:pt idx="2479">
                  <c:v>39315</c:v>
                </c:pt>
                <c:pt idx="2480">
                  <c:v>39316</c:v>
                </c:pt>
                <c:pt idx="2481">
                  <c:v>39317</c:v>
                </c:pt>
                <c:pt idx="2482">
                  <c:v>39318</c:v>
                </c:pt>
                <c:pt idx="2483">
                  <c:v>39321</c:v>
                </c:pt>
                <c:pt idx="2484">
                  <c:v>39322</c:v>
                </c:pt>
                <c:pt idx="2485">
                  <c:v>39323</c:v>
                </c:pt>
                <c:pt idx="2486">
                  <c:v>39324</c:v>
                </c:pt>
                <c:pt idx="2487">
                  <c:v>39325</c:v>
                </c:pt>
                <c:pt idx="2488">
                  <c:v>39329</c:v>
                </c:pt>
                <c:pt idx="2489">
                  <c:v>39330</c:v>
                </c:pt>
                <c:pt idx="2490">
                  <c:v>39331</c:v>
                </c:pt>
                <c:pt idx="2491">
                  <c:v>39332</c:v>
                </c:pt>
                <c:pt idx="2492">
                  <c:v>39335</c:v>
                </c:pt>
                <c:pt idx="2493">
                  <c:v>39336</c:v>
                </c:pt>
                <c:pt idx="2494">
                  <c:v>39337</c:v>
                </c:pt>
                <c:pt idx="2495">
                  <c:v>39338</c:v>
                </c:pt>
                <c:pt idx="2496">
                  <c:v>39339</c:v>
                </c:pt>
                <c:pt idx="2497">
                  <c:v>39342</c:v>
                </c:pt>
                <c:pt idx="2498">
                  <c:v>39343</c:v>
                </c:pt>
                <c:pt idx="2499">
                  <c:v>39344</c:v>
                </c:pt>
                <c:pt idx="2500">
                  <c:v>39345</c:v>
                </c:pt>
                <c:pt idx="2501">
                  <c:v>39346</c:v>
                </c:pt>
                <c:pt idx="2502">
                  <c:v>39349</c:v>
                </c:pt>
                <c:pt idx="2503">
                  <c:v>39350</c:v>
                </c:pt>
                <c:pt idx="2504">
                  <c:v>39351</c:v>
                </c:pt>
                <c:pt idx="2505">
                  <c:v>39352</c:v>
                </c:pt>
                <c:pt idx="2506">
                  <c:v>39353</c:v>
                </c:pt>
                <c:pt idx="2507">
                  <c:v>39356</c:v>
                </c:pt>
                <c:pt idx="2508">
                  <c:v>39357</c:v>
                </c:pt>
                <c:pt idx="2509">
                  <c:v>39358</c:v>
                </c:pt>
                <c:pt idx="2510">
                  <c:v>39359</c:v>
                </c:pt>
                <c:pt idx="2511">
                  <c:v>39360</c:v>
                </c:pt>
                <c:pt idx="2512">
                  <c:v>39363</c:v>
                </c:pt>
                <c:pt idx="2513">
                  <c:v>39364</c:v>
                </c:pt>
                <c:pt idx="2514">
                  <c:v>39365</c:v>
                </c:pt>
                <c:pt idx="2515">
                  <c:v>39366</c:v>
                </c:pt>
                <c:pt idx="2516">
                  <c:v>39367</c:v>
                </c:pt>
                <c:pt idx="2517">
                  <c:v>39370</c:v>
                </c:pt>
                <c:pt idx="2518">
                  <c:v>39371</c:v>
                </c:pt>
                <c:pt idx="2519">
                  <c:v>39372</c:v>
                </c:pt>
                <c:pt idx="2520">
                  <c:v>39373</c:v>
                </c:pt>
                <c:pt idx="2521">
                  <c:v>39374</c:v>
                </c:pt>
                <c:pt idx="2522">
                  <c:v>39377</c:v>
                </c:pt>
                <c:pt idx="2523">
                  <c:v>39378</c:v>
                </c:pt>
                <c:pt idx="2524">
                  <c:v>39379</c:v>
                </c:pt>
                <c:pt idx="2525">
                  <c:v>39380</c:v>
                </c:pt>
                <c:pt idx="2526">
                  <c:v>39381</c:v>
                </c:pt>
                <c:pt idx="2527">
                  <c:v>39384</c:v>
                </c:pt>
                <c:pt idx="2528">
                  <c:v>39385</c:v>
                </c:pt>
                <c:pt idx="2529">
                  <c:v>39386</c:v>
                </c:pt>
                <c:pt idx="2530">
                  <c:v>39387</c:v>
                </c:pt>
                <c:pt idx="2531">
                  <c:v>39388</c:v>
                </c:pt>
                <c:pt idx="2532">
                  <c:v>39391</c:v>
                </c:pt>
                <c:pt idx="2533">
                  <c:v>39392</c:v>
                </c:pt>
                <c:pt idx="2534">
                  <c:v>39393</c:v>
                </c:pt>
                <c:pt idx="2535">
                  <c:v>39394</c:v>
                </c:pt>
                <c:pt idx="2536">
                  <c:v>39395</c:v>
                </c:pt>
                <c:pt idx="2537">
                  <c:v>39398</c:v>
                </c:pt>
                <c:pt idx="2538">
                  <c:v>39399</c:v>
                </c:pt>
                <c:pt idx="2539">
                  <c:v>39400</c:v>
                </c:pt>
                <c:pt idx="2540">
                  <c:v>39401</c:v>
                </c:pt>
                <c:pt idx="2541">
                  <c:v>39402</c:v>
                </c:pt>
                <c:pt idx="2542">
                  <c:v>39405</c:v>
                </c:pt>
                <c:pt idx="2543">
                  <c:v>39406</c:v>
                </c:pt>
                <c:pt idx="2544">
                  <c:v>39407</c:v>
                </c:pt>
                <c:pt idx="2545">
                  <c:v>39409</c:v>
                </c:pt>
                <c:pt idx="2546">
                  <c:v>39412</c:v>
                </c:pt>
                <c:pt idx="2547">
                  <c:v>39413</c:v>
                </c:pt>
                <c:pt idx="2548">
                  <c:v>39414</c:v>
                </c:pt>
                <c:pt idx="2549">
                  <c:v>39415</c:v>
                </c:pt>
                <c:pt idx="2550">
                  <c:v>39416</c:v>
                </c:pt>
                <c:pt idx="2551">
                  <c:v>39419</c:v>
                </c:pt>
                <c:pt idx="2552">
                  <c:v>39420</c:v>
                </c:pt>
                <c:pt idx="2553">
                  <c:v>39421</c:v>
                </c:pt>
                <c:pt idx="2554">
                  <c:v>39422</c:v>
                </c:pt>
                <c:pt idx="2555">
                  <c:v>39423</c:v>
                </c:pt>
                <c:pt idx="2556">
                  <c:v>39426</c:v>
                </c:pt>
                <c:pt idx="2557">
                  <c:v>39427</c:v>
                </c:pt>
                <c:pt idx="2558">
                  <c:v>39428</c:v>
                </c:pt>
                <c:pt idx="2559">
                  <c:v>39429</c:v>
                </c:pt>
                <c:pt idx="2560">
                  <c:v>39430</c:v>
                </c:pt>
                <c:pt idx="2561">
                  <c:v>39433</c:v>
                </c:pt>
                <c:pt idx="2562">
                  <c:v>39434</c:v>
                </c:pt>
                <c:pt idx="2563">
                  <c:v>39435</c:v>
                </c:pt>
                <c:pt idx="2564">
                  <c:v>39436</c:v>
                </c:pt>
                <c:pt idx="2565">
                  <c:v>39437</c:v>
                </c:pt>
                <c:pt idx="2566">
                  <c:v>39440</c:v>
                </c:pt>
                <c:pt idx="2567">
                  <c:v>39442</c:v>
                </c:pt>
                <c:pt idx="2568">
                  <c:v>39443</c:v>
                </c:pt>
                <c:pt idx="2569">
                  <c:v>39444</c:v>
                </c:pt>
                <c:pt idx="2570">
                  <c:v>39447</c:v>
                </c:pt>
                <c:pt idx="2571">
                  <c:v>39449</c:v>
                </c:pt>
                <c:pt idx="2572">
                  <c:v>39450</c:v>
                </c:pt>
                <c:pt idx="2573">
                  <c:v>39451</c:v>
                </c:pt>
                <c:pt idx="2574">
                  <c:v>39454</c:v>
                </c:pt>
                <c:pt idx="2575">
                  <c:v>39455</c:v>
                </c:pt>
                <c:pt idx="2576">
                  <c:v>39456</c:v>
                </c:pt>
                <c:pt idx="2577">
                  <c:v>39457</c:v>
                </c:pt>
                <c:pt idx="2578">
                  <c:v>39458</c:v>
                </c:pt>
                <c:pt idx="2579">
                  <c:v>39461</c:v>
                </c:pt>
                <c:pt idx="2580">
                  <c:v>39462</c:v>
                </c:pt>
                <c:pt idx="2581">
                  <c:v>39463</c:v>
                </c:pt>
                <c:pt idx="2582">
                  <c:v>39464</c:v>
                </c:pt>
                <c:pt idx="2583">
                  <c:v>39465</c:v>
                </c:pt>
                <c:pt idx="2584">
                  <c:v>39469</c:v>
                </c:pt>
                <c:pt idx="2585">
                  <c:v>39470</c:v>
                </c:pt>
                <c:pt idx="2586">
                  <c:v>39471</c:v>
                </c:pt>
                <c:pt idx="2587">
                  <c:v>39472</c:v>
                </c:pt>
                <c:pt idx="2588">
                  <c:v>39475</c:v>
                </c:pt>
                <c:pt idx="2589">
                  <c:v>39476</c:v>
                </c:pt>
                <c:pt idx="2590">
                  <c:v>39477</c:v>
                </c:pt>
                <c:pt idx="2591">
                  <c:v>39478</c:v>
                </c:pt>
                <c:pt idx="2592">
                  <c:v>39479</c:v>
                </c:pt>
                <c:pt idx="2593">
                  <c:v>39482</c:v>
                </c:pt>
                <c:pt idx="2594">
                  <c:v>39483</c:v>
                </c:pt>
                <c:pt idx="2595">
                  <c:v>39484</c:v>
                </c:pt>
                <c:pt idx="2596">
                  <c:v>39485</c:v>
                </c:pt>
                <c:pt idx="2597">
                  <c:v>39486</c:v>
                </c:pt>
                <c:pt idx="2598">
                  <c:v>39489</c:v>
                </c:pt>
                <c:pt idx="2599">
                  <c:v>39490</c:v>
                </c:pt>
                <c:pt idx="2600">
                  <c:v>39491</c:v>
                </c:pt>
                <c:pt idx="2601">
                  <c:v>39492</c:v>
                </c:pt>
                <c:pt idx="2602">
                  <c:v>39493</c:v>
                </c:pt>
                <c:pt idx="2603">
                  <c:v>39497</c:v>
                </c:pt>
                <c:pt idx="2604">
                  <c:v>39498</c:v>
                </c:pt>
                <c:pt idx="2605">
                  <c:v>39499</c:v>
                </c:pt>
                <c:pt idx="2606">
                  <c:v>39500</c:v>
                </c:pt>
                <c:pt idx="2607">
                  <c:v>39503</c:v>
                </c:pt>
                <c:pt idx="2608">
                  <c:v>39504</c:v>
                </c:pt>
                <c:pt idx="2609">
                  <c:v>39505</c:v>
                </c:pt>
                <c:pt idx="2610">
                  <c:v>39506</c:v>
                </c:pt>
                <c:pt idx="2611">
                  <c:v>39507</c:v>
                </c:pt>
                <c:pt idx="2612">
                  <c:v>39510</c:v>
                </c:pt>
                <c:pt idx="2613">
                  <c:v>39511</c:v>
                </c:pt>
                <c:pt idx="2614">
                  <c:v>39512</c:v>
                </c:pt>
                <c:pt idx="2615">
                  <c:v>39513</c:v>
                </c:pt>
                <c:pt idx="2616">
                  <c:v>39514</c:v>
                </c:pt>
                <c:pt idx="2617">
                  <c:v>39517</c:v>
                </c:pt>
                <c:pt idx="2618">
                  <c:v>39518</c:v>
                </c:pt>
                <c:pt idx="2619">
                  <c:v>39519</c:v>
                </c:pt>
                <c:pt idx="2620">
                  <c:v>39520</c:v>
                </c:pt>
                <c:pt idx="2621">
                  <c:v>39521</c:v>
                </c:pt>
                <c:pt idx="2622">
                  <c:v>39524</c:v>
                </c:pt>
                <c:pt idx="2623">
                  <c:v>39525</c:v>
                </c:pt>
                <c:pt idx="2624">
                  <c:v>39526</c:v>
                </c:pt>
                <c:pt idx="2625">
                  <c:v>39527</c:v>
                </c:pt>
                <c:pt idx="2626">
                  <c:v>39531</c:v>
                </c:pt>
                <c:pt idx="2627">
                  <c:v>39532</c:v>
                </c:pt>
                <c:pt idx="2628">
                  <c:v>39533</c:v>
                </c:pt>
                <c:pt idx="2629">
                  <c:v>39534</c:v>
                </c:pt>
                <c:pt idx="2630">
                  <c:v>39535</c:v>
                </c:pt>
                <c:pt idx="2631">
                  <c:v>39538</c:v>
                </c:pt>
                <c:pt idx="2632">
                  <c:v>39539</c:v>
                </c:pt>
                <c:pt idx="2633">
                  <c:v>39540</c:v>
                </c:pt>
                <c:pt idx="2634">
                  <c:v>39541</c:v>
                </c:pt>
                <c:pt idx="2635">
                  <c:v>39542</c:v>
                </c:pt>
                <c:pt idx="2636">
                  <c:v>39545</c:v>
                </c:pt>
                <c:pt idx="2637">
                  <c:v>39546</c:v>
                </c:pt>
                <c:pt idx="2638">
                  <c:v>39547</c:v>
                </c:pt>
                <c:pt idx="2639">
                  <c:v>39548</c:v>
                </c:pt>
                <c:pt idx="2640">
                  <c:v>39549</c:v>
                </c:pt>
                <c:pt idx="2641">
                  <c:v>39552</c:v>
                </c:pt>
                <c:pt idx="2642">
                  <c:v>39553</c:v>
                </c:pt>
                <c:pt idx="2643">
                  <c:v>39554</c:v>
                </c:pt>
                <c:pt idx="2644">
                  <c:v>39555</c:v>
                </c:pt>
                <c:pt idx="2645">
                  <c:v>39556</c:v>
                </c:pt>
                <c:pt idx="2646">
                  <c:v>39559</c:v>
                </c:pt>
                <c:pt idx="2647">
                  <c:v>39560</c:v>
                </c:pt>
                <c:pt idx="2648">
                  <c:v>39561</c:v>
                </c:pt>
                <c:pt idx="2649">
                  <c:v>39562</c:v>
                </c:pt>
                <c:pt idx="2650">
                  <c:v>39563</c:v>
                </c:pt>
                <c:pt idx="2651">
                  <c:v>39566</c:v>
                </c:pt>
                <c:pt idx="2652">
                  <c:v>39567</c:v>
                </c:pt>
                <c:pt idx="2653">
                  <c:v>39568</c:v>
                </c:pt>
                <c:pt idx="2654">
                  <c:v>39569</c:v>
                </c:pt>
                <c:pt idx="2655">
                  <c:v>39570</c:v>
                </c:pt>
                <c:pt idx="2656">
                  <c:v>39573</c:v>
                </c:pt>
                <c:pt idx="2657">
                  <c:v>39574</c:v>
                </c:pt>
                <c:pt idx="2658">
                  <c:v>39575</c:v>
                </c:pt>
                <c:pt idx="2659">
                  <c:v>39576</c:v>
                </c:pt>
                <c:pt idx="2660">
                  <c:v>39577</c:v>
                </c:pt>
                <c:pt idx="2661">
                  <c:v>39580</c:v>
                </c:pt>
                <c:pt idx="2662">
                  <c:v>39581</c:v>
                </c:pt>
                <c:pt idx="2663">
                  <c:v>39582</c:v>
                </c:pt>
                <c:pt idx="2664">
                  <c:v>39583</c:v>
                </c:pt>
                <c:pt idx="2665">
                  <c:v>39584</c:v>
                </c:pt>
                <c:pt idx="2666">
                  <c:v>39587</c:v>
                </c:pt>
                <c:pt idx="2667">
                  <c:v>39588</c:v>
                </c:pt>
                <c:pt idx="2668">
                  <c:v>39589</c:v>
                </c:pt>
                <c:pt idx="2669">
                  <c:v>39590</c:v>
                </c:pt>
                <c:pt idx="2670">
                  <c:v>39591</c:v>
                </c:pt>
                <c:pt idx="2671">
                  <c:v>39595</c:v>
                </c:pt>
                <c:pt idx="2672">
                  <c:v>39596</c:v>
                </c:pt>
                <c:pt idx="2673">
                  <c:v>39597</c:v>
                </c:pt>
                <c:pt idx="2674">
                  <c:v>39598</c:v>
                </c:pt>
                <c:pt idx="2675">
                  <c:v>39601</c:v>
                </c:pt>
                <c:pt idx="2676">
                  <c:v>39602</c:v>
                </c:pt>
                <c:pt idx="2677">
                  <c:v>39603</c:v>
                </c:pt>
                <c:pt idx="2678">
                  <c:v>39604</c:v>
                </c:pt>
                <c:pt idx="2679">
                  <c:v>39605</c:v>
                </c:pt>
                <c:pt idx="2680">
                  <c:v>39608</c:v>
                </c:pt>
                <c:pt idx="2681">
                  <c:v>39609</c:v>
                </c:pt>
                <c:pt idx="2682">
                  <c:v>39610</c:v>
                </c:pt>
                <c:pt idx="2683">
                  <c:v>39611</c:v>
                </c:pt>
                <c:pt idx="2684">
                  <c:v>39612</c:v>
                </c:pt>
                <c:pt idx="2685">
                  <c:v>39615</c:v>
                </c:pt>
                <c:pt idx="2686">
                  <c:v>39616</c:v>
                </c:pt>
                <c:pt idx="2687">
                  <c:v>39617</c:v>
                </c:pt>
                <c:pt idx="2688">
                  <c:v>39618</c:v>
                </c:pt>
                <c:pt idx="2689">
                  <c:v>39619</c:v>
                </c:pt>
                <c:pt idx="2690">
                  <c:v>39622</c:v>
                </c:pt>
                <c:pt idx="2691">
                  <c:v>39623</c:v>
                </c:pt>
                <c:pt idx="2692">
                  <c:v>39624</c:v>
                </c:pt>
                <c:pt idx="2693">
                  <c:v>39625</c:v>
                </c:pt>
                <c:pt idx="2694">
                  <c:v>39626</c:v>
                </c:pt>
                <c:pt idx="2695">
                  <c:v>39629</c:v>
                </c:pt>
                <c:pt idx="2696">
                  <c:v>39630</c:v>
                </c:pt>
                <c:pt idx="2697">
                  <c:v>39631</c:v>
                </c:pt>
                <c:pt idx="2698">
                  <c:v>39632</c:v>
                </c:pt>
                <c:pt idx="2699">
                  <c:v>39636</c:v>
                </c:pt>
                <c:pt idx="2700">
                  <c:v>39637</c:v>
                </c:pt>
                <c:pt idx="2701">
                  <c:v>39638</c:v>
                </c:pt>
                <c:pt idx="2702">
                  <c:v>39639</c:v>
                </c:pt>
                <c:pt idx="2703">
                  <c:v>39640</c:v>
                </c:pt>
                <c:pt idx="2704">
                  <c:v>39643</c:v>
                </c:pt>
                <c:pt idx="2705">
                  <c:v>39644</c:v>
                </c:pt>
                <c:pt idx="2706">
                  <c:v>39645</c:v>
                </c:pt>
                <c:pt idx="2707">
                  <c:v>39646</c:v>
                </c:pt>
                <c:pt idx="2708">
                  <c:v>39647</c:v>
                </c:pt>
                <c:pt idx="2709">
                  <c:v>39650</c:v>
                </c:pt>
                <c:pt idx="2710">
                  <c:v>39651</c:v>
                </c:pt>
                <c:pt idx="2711">
                  <c:v>39652</c:v>
                </c:pt>
                <c:pt idx="2712">
                  <c:v>39653</c:v>
                </c:pt>
                <c:pt idx="2713">
                  <c:v>39654</c:v>
                </c:pt>
                <c:pt idx="2714">
                  <c:v>39657</c:v>
                </c:pt>
                <c:pt idx="2715">
                  <c:v>39658</c:v>
                </c:pt>
                <c:pt idx="2716">
                  <c:v>39659</c:v>
                </c:pt>
                <c:pt idx="2717">
                  <c:v>39660</c:v>
                </c:pt>
                <c:pt idx="2718">
                  <c:v>39661</c:v>
                </c:pt>
                <c:pt idx="2719">
                  <c:v>39664</c:v>
                </c:pt>
                <c:pt idx="2720">
                  <c:v>39665</c:v>
                </c:pt>
                <c:pt idx="2721">
                  <c:v>39666</c:v>
                </c:pt>
                <c:pt idx="2722">
                  <c:v>39667</c:v>
                </c:pt>
                <c:pt idx="2723">
                  <c:v>39668</c:v>
                </c:pt>
                <c:pt idx="2724">
                  <c:v>39671</c:v>
                </c:pt>
                <c:pt idx="2725">
                  <c:v>39672</c:v>
                </c:pt>
                <c:pt idx="2726">
                  <c:v>39673</c:v>
                </c:pt>
                <c:pt idx="2727">
                  <c:v>39674</c:v>
                </c:pt>
                <c:pt idx="2728">
                  <c:v>39675</c:v>
                </c:pt>
                <c:pt idx="2729">
                  <c:v>39678</c:v>
                </c:pt>
                <c:pt idx="2730">
                  <c:v>39679</c:v>
                </c:pt>
                <c:pt idx="2731">
                  <c:v>39680</c:v>
                </c:pt>
                <c:pt idx="2732">
                  <c:v>39681</c:v>
                </c:pt>
                <c:pt idx="2733">
                  <c:v>39682</c:v>
                </c:pt>
                <c:pt idx="2734">
                  <c:v>39685</c:v>
                </c:pt>
                <c:pt idx="2735">
                  <c:v>39686</c:v>
                </c:pt>
                <c:pt idx="2736">
                  <c:v>39687</c:v>
                </c:pt>
                <c:pt idx="2737">
                  <c:v>39688</c:v>
                </c:pt>
                <c:pt idx="2738">
                  <c:v>39689</c:v>
                </c:pt>
                <c:pt idx="2739">
                  <c:v>39693</c:v>
                </c:pt>
                <c:pt idx="2740">
                  <c:v>39694</c:v>
                </c:pt>
                <c:pt idx="2741">
                  <c:v>39695</c:v>
                </c:pt>
                <c:pt idx="2742">
                  <c:v>39696</c:v>
                </c:pt>
                <c:pt idx="2743">
                  <c:v>39699</c:v>
                </c:pt>
                <c:pt idx="2744">
                  <c:v>39700</c:v>
                </c:pt>
                <c:pt idx="2745">
                  <c:v>39701</c:v>
                </c:pt>
                <c:pt idx="2746">
                  <c:v>39702</c:v>
                </c:pt>
                <c:pt idx="2747">
                  <c:v>39703</c:v>
                </c:pt>
                <c:pt idx="2748">
                  <c:v>39706</c:v>
                </c:pt>
                <c:pt idx="2749">
                  <c:v>39707</c:v>
                </c:pt>
                <c:pt idx="2750">
                  <c:v>39708</c:v>
                </c:pt>
                <c:pt idx="2751">
                  <c:v>39709</c:v>
                </c:pt>
                <c:pt idx="2752">
                  <c:v>39710</c:v>
                </c:pt>
                <c:pt idx="2753">
                  <c:v>39713</c:v>
                </c:pt>
                <c:pt idx="2754">
                  <c:v>39714</c:v>
                </c:pt>
                <c:pt idx="2755">
                  <c:v>39715</c:v>
                </c:pt>
                <c:pt idx="2756">
                  <c:v>39716</c:v>
                </c:pt>
                <c:pt idx="2757">
                  <c:v>39717</c:v>
                </c:pt>
                <c:pt idx="2758">
                  <c:v>39720</c:v>
                </c:pt>
                <c:pt idx="2759">
                  <c:v>39721</c:v>
                </c:pt>
                <c:pt idx="2760">
                  <c:v>39722</c:v>
                </c:pt>
                <c:pt idx="2761">
                  <c:v>39723</c:v>
                </c:pt>
                <c:pt idx="2762">
                  <c:v>39724</c:v>
                </c:pt>
                <c:pt idx="2763">
                  <c:v>39727</c:v>
                </c:pt>
                <c:pt idx="2764">
                  <c:v>39728</c:v>
                </c:pt>
                <c:pt idx="2765">
                  <c:v>39729</c:v>
                </c:pt>
                <c:pt idx="2766">
                  <c:v>39730</c:v>
                </c:pt>
                <c:pt idx="2767">
                  <c:v>39731</c:v>
                </c:pt>
                <c:pt idx="2768">
                  <c:v>39734</c:v>
                </c:pt>
                <c:pt idx="2769">
                  <c:v>39735</c:v>
                </c:pt>
                <c:pt idx="2770">
                  <c:v>39736</c:v>
                </c:pt>
                <c:pt idx="2771">
                  <c:v>39737</c:v>
                </c:pt>
                <c:pt idx="2772">
                  <c:v>39738</c:v>
                </c:pt>
                <c:pt idx="2773">
                  <c:v>39741</c:v>
                </c:pt>
                <c:pt idx="2774">
                  <c:v>39742</c:v>
                </c:pt>
                <c:pt idx="2775">
                  <c:v>39743</c:v>
                </c:pt>
                <c:pt idx="2776">
                  <c:v>39744</c:v>
                </c:pt>
                <c:pt idx="2777">
                  <c:v>39745</c:v>
                </c:pt>
                <c:pt idx="2778">
                  <c:v>39748</c:v>
                </c:pt>
                <c:pt idx="2779">
                  <c:v>39749</c:v>
                </c:pt>
                <c:pt idx="2780">
                  <c:v>39750</c:v>
                </c:pt>
                <c:pt idx="2781">
                  <c:v>39751</c:v>
                </c:pt>
                <c:pt idx="2782">
                  <c:v>39752</c:v>
                </c:pt>
                <c:pt idx="2783">
                  <c:v>39755</c:v>
                </c:pt>
                <c:pt idx="2784">
                  <c:v>39756</c:v>
                </c:pt>
                <c:pt idx="2785">
                  <c:v>39757</c:v>
                </c:pt>
                <c:pt idx="2786">
                  <c:v>39758</c:v>
                </c:pt>
                <c:pt idx="2787">
                  <c:v>39759</c:v>
                </c:pt>
                <c:pt idx="2788">
                  <c:v>39762</c:v>
                </c:pt>
                <c:pt idx="2789">
                  <c:v>39763</c:v>
                </c:pt>
                <c:pt idx="2790">
                  <c:v>39764</c:v>
                </c:pt>
                <c:pt idx="2791">
                  <c:v>39765</c:v>
                </c:pt>
                <c:pt idx="2792">
                  <c:v>39766</c:v>
                </c:pt>
                <c:pt idx="2793">
                  <c:v>39769</c:v>
                </c:pt>
                <c:pt idx="2794">
                  <c:v>39770</c:v>
                </c:pt>
                <c:pt idx="2795">
                  <c:v>39771</c:v>
                </c:pt>
                <c:pt idx="2796">
                  <c:v>39772</c:v>
                </c:pt>
                <c:pt idx="2797">
                  <c:v>39773</c:v>
                </c:pt>
                <c:pt idx="2798">
                  <c:v>39776</c:v>
                </c:pt>
                <c:pt idx="2799">
                  <c:v>39777</c:v>
                </c:pt>
                <c:pt idx="2800">
                  <c:v>39778</c:v>
                </c:pt>
                <c:pt idx="2801">
                  <c:v>39780</c:v>
                </c:pt>
                <c:pt idx="2802">
                  <c:v>39783</c:v>
                </c:pt>
                <c:pt idx="2803">
                  <c:v>39784</c:v>
                </c:pt>
                <c:pt idx="2804">
                  <c:v>39785</c:v>
                </c:pt>
                <c:pt idx="2805">
                  <c:v>39786</c:v>
                </c:pt>
                <c:pt idx="2806">
                  <c:v>39787</c:v>
                </c:pt>
                <c:pt idx="2807">
                  <c:v>39790</c:v>
                </c:pt>
                <c:pt idx="2808">
                  <c:v>39791</c:v>
                </c:pt>
                <c:pt idx="2809">
                  <c:v>39792</c:v>
                </c:pt>
                <c:pt idx="2810">
                  <c:v>39793</c:v>
                </c:pt>
                <c:pt idx="2811">
                  <c:v>39794</c:v>
                </c:pt>
                <c:pt idx="2812">
                  <c:v>39797</c:v>
                </c:pt>
                <c:pt idx="2813">
                  <c:v>39798</c:v>
                </c:pt>
                <c:pt idx="2814">
                  <c:v>39799</c:v>
                </c:pt>
                <c:pt idx="2815">
                  <c:v>39800</c:v>
                </c:pt>
                <c:pt idx="2816">
                  <c:v>39801</c:v>
                </c:pt>
                <c:pt idx="2817">
                  <c:v>39804</c:v>
                </c:pt>
                <c:pt idx="2818">
                  <c:v>39805</c:v>
                </c:pt>
                <c:pt idx="2819">
                  <c:v>39806</c:v>
                </c:pt>
                <c:pt idx="2820">
                  <c:v>39808</c:v>
                </c:pt>
                <c:pt idx="2821">
                  <c:v>39811</c:v>
                </c:pt>
                <c:pt idx="2822">
                  <c:v>39812</c:v>
                </c:pt>
                <c:pt idx="2823">
                  <c:v>39813</c:v>
                </c:pt>
                <c:pt idx="2824">
                  <c:v>39815</c:v>
                </c:pt>
                <c:pt idx="2825">
                  <c:v>39818</c:v>
                </c:pt>
                <c:pt idx="2826">
                  <c:v>39819</c:v>
                </c:pt>
                <c:pt idx="2827">
                  <c:v>39820</c:v>
                </c:pt>
                <c:pt idx="2828">
                  <c:v>39821</c:v>
                </c:pt>
                <c:pt idx="2829">
                  <c:v>39822</c:v>
                </c:pt>
                <c:pt idx="2830">
                  <c:v>39825</c:v>
                </c:pt>
                <c:pt idx="2831">
                  <c:v>39826</c:v>
                </c:pt>
                <c:pt idx="2832">
                  <c:v>39827</c:v>
                </c:pt>
                <c:pt idx="2833">
                  <c:v>39828</c:v>
                </c:pt>
                <c:pt idx="2834">
                  <c:v>39829</c:v>
                </c:pt>
                <c:pt idx="2835">
                  <c:v>39833</c:v>
                </c:pt>
                <c:pt idx="2836">
                  <c:v>39834</c:v>
                </c:pt>
                <c:pt idx="2837">
                  <c:v>39835</c:v>
                </c:pt>
                <c:pt idx="2838">
                  <c:v>39836</c:v>
                </c:pt>
                <c:pt idx="2839">
                  <c:v>39839</c:v>
                </c:pt>
                <c:pt idx="2840">
                  <c:v>39840</c:v>
                </c:pt>
                <c:pt idx="2841">
                  <c:v>39841</c:v>
                </c:pt>
                <c:pt idx="2842">
                  <c:v>39842</c:v>
                </c:pt>
                <c:pt idx="2843">
                  <c:v>39843</c:v>
                </c:pt>
                <c:pt idx="2844">
                  <c:v>39846</c:v>
                </c:pt>
                <c:pt idx="2845">
                  <c:v>39847</c:v>
                </c:pt>
                <c:pt idx="2846">
                  <c:v>39848</c:v>
                </c:pt>
                <c:pt idx="2847">
                  <c:v>39849</c:v>
                </c:pt>
                <c:pt idx="2848">
                  <c:v>39850</c:v>
                </c:pt>
                <c:pt idx="2849">
                  <c:v>39853</c:v>
                </c:pt>
                <c:pt idx="2850">
                  <c:v>39854</c:v>
                </c:pt>
                <c:pt idx="2851">
                  <c:v>39855</c:v>
                </c:pt>
                <c:pt idx="2852">
                  <c:v>39856</c:v>
                </c:pt>
                <c:pt idx="2853">
                  <c:v>39857</c:v>
                </c:pt>
                <c:pt idx="2854">
                  <c:v>39861</c:v>
                </c:pt>
                <c:pt idx="2855">
                  <c:v>39862</c:v>
                </c:pt>
                <c:pt idx="2856">
                  <c:v>39863</c:v>
                </c:pt>
                <c:pt idx="2857">
                  <c:v>39864</c:v>
                </c:pt>
                <c:pt idx="2858">
                  <c:v>39867</c:v>
                </c:pt>
                <c:pt idx="2859">
                  <c:v>39868</c:v>
                </c:pt>
                <c:pt idx="2860">
                  <c:v>39869</c:v>
                </c:pt>
                <c:pt idx="2861">
                  <c:v>39870</c:v>
                </c:pt>
                <c:pt idx="2862">
                  <c:v>39871</c:v>
                </c:pt>
                <c:pt idx="2863">
                  <c:v>39874</c:v>
                </c:pt>
                <c:pt idx="2864">
                  <c:v>39875</c:v>
                </c:pt>
                <c:pt idx="2865">
                  <c:v>39876</c:v>
                </c:pt>
                <c:pt idx="2866">
                  <c:v>39877</c:v>
                </c:pt>
                <c:pt idx="2867">
                  <c:v>39878</c:v>
                </c:pt>
                <c:pt idx="2868">
                  <c:v>39881</c:v>
                </c:pt>
                <c:pt idx="2869">
                  <c:v>39882</c:v>
                </c:pt>
                <c:pt idx="2870">
                  <c:v>39883</c:v>
                </c:pt>
                <c:pt idx="2871">
                  <c:v>39884</c:v>
                </c:pt>
                <c:pt idx="2872">
                  <c:v>39885</c:v>
                </c:pt>
                <c:pt idx="2873">
                  <c:v>39888</c:v>
                </c:pt>
                <c:pt idx="2874">
                  <c:v>39889</c:v>
                </c:pt>
                <c:pt idx="2875">
                  <c:v>39890</c:v>
                </c:pt>
                <c:pt idx="2876">
                  <c:v>39891</c:v>
                </c:pt>
                <c:pt idx="2877">
                  <c:v>39892</c:v>
                </c:pt>
                <c:pt idx="2878">
                  <c:v>39895</c:v>
                </c:pt>
                <c:pt idx="2879">
                  <c:v>39896</c:v>
                </c:pt>
                <c:pt idx="2880">
                  <c:v>39897</c:v>
                </c:pt>
                <c:pt idx="2881">
                  <c:v>39898</c:v>
                </c:pt>
                <c:pt idx="2882">
                  <c:v>39899</c:v>
                </c:pt>
                <c:pt idx="2883">
                  <c:v>39902</c:v>
                </c:pt>
                <c:pt idx="2884">
                  <c:v>39903</c:v>
                </c:pt>
                <c:pt idx="2885">
                  <c:v>39904</c:v>
                </c:pt>
                <c:pt idx="2886">
                  <c:v>39905</c:v>
                </c:pt>
                <c:pt idx="2887">
                  <c:v>39906</c:v>
                </c:pt>
                <c:pt idx="2888">
                  <c:v>39909</c:v>
                </c:pt>
                <c:pt idx="2889">
                  <c:v>39910</c:v>
                </c:pt>
                <c:pt idx="2890">
                  <c:v>39911</c:v>
                </c:pt>
                <c:pt idx="2891">
                  <c:v>39912</c:v>
                </c:pt>
                <c:pt idx="2892">
                  <c:v>39916</c:v>
                </c:pt>
                <c:pt idx="2893">
                  <c:v>39917</c:v>
                </c:pt>
                <c:pt idx="2894">
                  <c:v>39918</c:v>
                </c:pt>
                <c:pt idx="2895">
                  <c:v>39919</c:v>
                </c:pt>
                <c:pt idx="2896">
                  <c:v>39920</c:v>
                </c:pt>
                <c:pt idx="2897">
                  <c:v>39923</c:v>
                </c:pt>
                <c:pt idx="2898">
                  <c:v>39924</c:v>
                </c:pt>
                <c:pt idx="2899">
                  <c:v>39925</c:v>
                </c:pt>
                <c:pt idx="2900">
                  <c:v>39926</c:v>
                </c:pt>
                <c:pt idx="2901">
                  <c:v>39927</c:v>
                </c:pt>
                <c:pt idx="2902">
                  <c:v>39930</c:v>
                </c:pt>
                <c:pt idx="2903">
                  <c:v>39931</c:v>
                </c:pt>
                <c:pt idx="2904">
                  <c:v>39932</c:v>
                </c:pt>
                <c:pt idx="2905">
                  <c:v>39933</c:v>
                </c:pt>
                <c:pt idx="2906">
                  <c:v>39934</c:v>
                </c:pt>
                <c:pt idx="2907">
                  <c:v>39937</c:v>
                </c:pt>
                <c:pt idx="2908">
                  <c:v>39938</c:v>
                </c:pt>
                <c:pt idx="2909">
                  <c:v>39939</c:v>
                </c:pt>
                <c:pt idx="2910">
                  <c:v>39940</c:v>
                </c:pt>
                <c:pt idx="2911">
                  <c:v>39941</c:v>
                </c:pt>
                <c:pt idx="2912">
                  <c:v>39944</c:v>
                </c:pt>
                <c:pt idx="2913">
                  <c:v>39945</c:v>
                </c:pt>
                <c:pt idx="2914">
                  <c:v>39946</c:v>
                </c:pt>
                <c:pt idx="2915">
                  <c:v>39947</c:v>
                </c:pt>
                <c:pt idx="2916">
                  <c:v>39948</c:v>
                </c:pt>
                <c:pt idx="2917">
                  <c:v>39951</c:v>
                </c:pt>
                <c:pt idx="2918">
                  <c:v>39952</c:v>
                </c:pt>
                <c:pt idx="2919">
                  <c:v>39953</c:v>
                </c:pt>
                <c:pt idx="2920">
                  <c:v>39954</c:v>
                </c:pt>
                <c:pt idx="2921">
                  <c:v>39955</c:v>
                </c:pt>
                <c:pt idx="2922">
                  <c:v>39959</c:v>
                </c:pt>
                <c:pt idx="2923">
                  <c:v>39960</c:v>
                </c:pt>
                <c:pt idx="2924">
                  <c:v>39961</c:v>
                </c:pt>
                <c:pt idx="2925">
                  <c:v>39962</c:v>
                </c:pt>
                <c:pt idx="2926">
                  <c:v>39965</c:v>
                </c:pt>
                <c:pt idx="2927">
                  <c:v>39966</c:v>
                </c:pt>
                <c:pt idx="2928">
                  <c:v>39967</c:v>
                </c:pt>
                <c:pt idx="2929">
                  <c:v>39968</c:v>
                </c:pt>
                <c:pt idx="2930">
                  <c:v>39969</c:v>
                </c:pt>
                <c:pt idx="2931">
                  <c:v>39972</c:v>
                </c:pt>
                <c:pt idx="2932">
                  <c:v>39973</c:v>
                </c:pt>
                <c:pt idx="2933">
                  <c:v>39974</c:v>
                </c:pt>
                <c:pt idx="2934">
                  <c:v>39975</c:v>
                </c:pt>
                <c:pt idx="2935">
                  <c:v>39976</c:v>
                </c:pt>
                <c:pt idx="2936">
                  <c:v>39979</c:v>
                </c:pt>
                <c:pt idx="2937">
                  <c:v>39980</c:v>
                </c:pt>
                <c:pt idx="2938">
                  <c:v>39981</c:v>
                </c:pt>
                <c:pt idx="2939">
                  <c:v>39982</c:v>
                </c:pt>
                <c:pt idx="2940">
                  <c:v>39983</c:v>
                </c:pt>
                <c:pt idx="2941">
                  <c:v>39986</c:v>
                </c:pt>
                <c:pt idx="2942">
                  <c:v>39987</c:v>
                </c:pt>
                <c:pt idx="2943">
                  <c:v>39988</c:v>
                </c:pt>
                <c:pt idx="2944">
                  <c:v>39989</c:v>
                </c:pt>
                <c:pt idx="2945">
                  <c:v>39990</c:v>
                </c:pt>
                <c:pt idx="2946">
                  <c:v>39993</c:v>
                </c:pt>
                <c:pt idx="2947">
                  <c:v>39994</c:v>
                </c:pt>
                <c:pt idx="2948">
                  <c:v>39995</c:v>
                </c:pt>
                <c:pt idx="2949">
                  <c:v>39996</c:v>
                </c:pt>
                <c:pt idx="2950">
                  <c:v>40000</c:v>
                </c:pt>
                <c:pt idx="2951">
                  <c:v>40001</c:v>
                </c:pt>
                <c:pt idx="2952">
                  <c:v>40002</c:v>
                </c:pt>
                <c:pt idx="2953">
                  <c:v>40003</c:v>
                </c:pt>
                <c:pt idx="2954">
                  <c:v>40004</c:v>
                </c:pt>
                <c:pt idx="2955">
                  <c:v>40007</c:v>
                </c:pt>
                <c:pt idx="2956">
                  <c:v>40008</c:v>
                </c:pt>
                <c:pt idx="2957">
                  <c:v>40009</c:v>
                </c:pt>
                <c:pt idx="2958">
                  <c:v>40010</c:v>
                </c:pt>
                <c:pt idx="2959">
                  <c:v>40011</c:v>
                </c:pt>
                <c:pt idx="2960">
                  <c:v>40014</c:v>
                </c:pt>
                <c:pt idx="2961">
                  <c:v>40015</c:v>
                </c:pt>
                <c:pt idx="2962">
                  <c:v>40016</c:v>
                </c:pt>
                <c:pt idx="2963">
                  <c:v>40017</c:v>
                </c:pt>
                <c:pt idx="2964">
                  <c:v>40018</c:v>
                </c:pt>
                <c:pt idx="2965">
                  <c:v>40021</c:v>
                </c:pt>
                <c:pt idx="2966">
                  <c:v>40022</c:v>
                </c:pt>
                <c:pt idx="2967">
                  <c:v>40023</c:v>
                </c:pt>
                <c:pt idx="2968">
                  <c:v>40024</c:v>
                </c:pt>
                <c:pt idx="2969">
                  <c:v>40025</c:v>
                </c:pt>
                <c:pt idx="2970">
                  <c:v>40028</c:v>
                </c:pt>
                <c:pt idx="2971">
                  <c:v>40029</c:v>
                </c:pt>
                <c:pt idx="2972">
                  <c:v>40030</c:v>
                </c:pt>
                <c:pt idx="2973">
                  <c:v>40031</c:v>
                </c:pt>
                <c:pt idx="2974">
                  <c:v>40032</c:v>
                </c:pt>
                <c:pt idx="2975">
                  <c:v>40035</c:v>
                </c:pt>
                <c:pt idx="2976">
                  <c:v>40036</c:v>
                </c:pt>
                <c:pt idx="2977">
                  <c:v>40037</c:v>
                </c:pt>
                <c:pt idx="2978">
                  <c:v>40038</c:v>
                </c:pt>
                <c:pt idx="2979">
                  <c:v>40039</c:v>
                </c:pt>
                <c:pt idx="2980">
                  <c:v>40042</c:v>
                </c:pt>
                <c:pt idx="2981">
                  <c:v>40043</c:v>
                </c:pt>
                <c:pt idx="2982">
                  <c:v>40044</c:v>
                </c:pt>
                <c:pt idx="2983">
                  <c:v>40045</c:v>
                </c:pt>
                <c:pt idx="2984">
                  <c:v>40046</c:v>
                </c:pt>
                <c:pt idx="2985">
                  <c:v>40049</c:v>
                </c:pt>
                <c:pt idx="2986">
                  <c:v>40050</c:v>
                </c:pt>
                <c:pt idx="2987">
                  <c:v>40051</c:v>
                </c:pt>
                <c:pt idx="2988">
                  <c:v>40052</c:v>
                </c:pt>
                <c:pt idx="2989">
                  <c:v>40053</c:v>
                </c:pt>
                <c:pt idx="2990">
                  <c:v>40056</c:v>
                </c:pt>
                <c:pt idx="2991">
                  <c:v>40057</c:v>
                </c:pt>
                <c:pt idx="2992">
                  <c:v>40058</c:v>
                </c:pt>
                <c:pt idx="2993">
                  <c:v>40059</c:v>
                </c:pt>
                <c:pt idx="2994">
                  <c:v>40060</c:v>
                </c:pt>
                <c:pt idx="2995">
                  <c:v>40064</c:v>
                </c:pt>
                <c:pt idx="2996">
                  <c:v>40065</c:v>
                </c:pt>
                <c:pt idx="2997">
                  <c:v>40066</c:v>
                </c:pt>
                <c:pt idx="2998">
                  <c:v>40067</c:v>
                </c:pt>
                <c:pt idx="2999">
                  <c:v>40070</c:v>
                </c:pt>
                <c:pt idx="3000">
                  <c:v>40071</c:v>
                </c:pt>
                <c:pt idx="3001">
                  <c:v>40072</c:v>
                </c:pt>
                <c:pt idx="3002">
                  <c:v>40073</c:v>
                </c:pt>
                <c:pt idx="3003">
                  <c:v>40074</c:v>
                </c:pt>
                <c:pt idx="3004">
                  <c:v>40077</c:v>
                </c:pt>
                <c:pt idx="3005">
                  <c:v>40078</c:v>
                </c:pt>
                <c:pt idx="3006">
                  <c:v>40079</c:v>
                </c:pt>
                <c:pt idx="3007">
                  <c:v>40080</c:v>
                </c:pt>
                <c:pt idx="3008">
                  <c:v>40081</c:v>
                </c:pt>
                <c:pt idx="3009">
                  <c:v>40084</c:v>
                </c:pt>
                <c:pt idx="3010">
                  <c:v>40085</c:v>
                </c:pt>
                <c:pt idx="3011">
                  <c:v>40086</c:v>
                </c:pt>
                <c:pt idx="3012">
                  <c:v>40087</c:v>
                </c:pt>
                <c:pt idx="3013">
                  <c:v>40088</c:v>
                </c:pt>
                <c:pt idx="3014">
                  <c:v>40091</c:v>
                </c:pt>
                <c:pt idx="3015">
                  <c:v>40092</c:v>
                </c:pt>
                <c:pt idx="3016">
                  <c:v>40093</c:v>
                </c:pt>
                <c:pt idx="3017">
                  <c:v>40094</c:v>
                </c:pt>
                <c:pt idx="3018">
                  <c:v>40095</c:v>
                </c:pt>
                <c:pt idx="3019">
                  <c:v>40098</c:v>
                </c:pt>
                <c:pt idx="3020">
                  <c:v>40099</c:v>
                </c:pt>
                <c:pt idx="3021">
                  <c:v>40100</c:v>
                </c:pt>
                <c:pt idx="3022">
                  <c:v>40101</c:v>
                </c:pt>
                <c:pt idx="3023">
                  <c:v>40102</c:v>
                </c:pt>
                <c:pt idx="3024">
                  <c:v>40105</c:v>
                </c:pt>
                <c:pt idx="3025">
                  <c:v>40106</c:v>
                </c:pt>
                <c:pt idx="3026">
                  <c:v>40107</c:v>
                </c:pt>
                <c:pt idx="3027">
                  <c:v>40108</c:v>
                </c:pt>
                <c:pt idx="3028">
                  <c:v>40109</c:v>
                </c:pt>
                <c:pt idx="3029">
                  <c:v>40112</c:v>
                </c:pt>
                <c:pt idx="3030">
                  <c:v>40113</c:v>
                </c:pt>
                <c:pt idx="3031">
                  <c:v>40114</c:v>
                </c:pt>
                <c:pt idx="3032">
                  <c:v>40115</c:v>
                </c:pt>
                <c:pt idx="3033">
                  <c:v>40116</c:v>
                </c:pt>
                <c:pt idx="3034">
                  <c:v>40119</c:v>
                </c:pt>
                <c:pt idx="3035">
                  <c:v>40120</c:v>
                </c:pt>
                <c:pt idx="3036">
                  <c:v>40121</c:v>
                </c:pt>
                <c:pt idx="3037">
                  <c:v>40122</c:v>
                </c:pt>
                <c:pt idx="3038">
                  <c:v>40123</c:v>
                </c:pt>
                <c:pt idx="3039">
                  <c:v>40126</c:v>
                </c:pt>
                <c:pt idx="3040">
                  <c:v>40127</c:v>
                </c:pt>
                <c:pt idx="3041">
                  <c:v>40128</c:v>
                </c:pt>
                <c:pt idx="3042">
                  <c:v>40129</c:v>
                </c:pt>
                <c:pt idx="3043">
                  <c:v>40130</c:v>
                </c:pt>
                <c:pt idx="3044">
                  <c:v>40133</c:v>
                </c:pt>
                <c:pt idx="3045">
                  <c:v>40134</c:v>
                </c:pt>
                <c:pt idx="3046">
                  <c:v>40135</c:v>
                </c:pt>
                <c:pt idx="3047">
                  <c:v>40136</c:v>
                </c:pt>
                <c:pt idx="3048">
                  <c:v>40137</c:v>
                </c:pt>
                <c:pt idx="3049">
                  <c:v>40140</c:v>
                </c:pt>
                <c:pt idx="3050">
                  <c:v>40141</c:v>
                </c:pt>
                <c:pt idx="3051">
                  <c:v>40142</c:v>
                </c:pt>
                <c:pt idx="3052">
                  <c:v>40144</c:v>
                </c:pt>
                <c:pt idx="3053">
                  <c:v>40147</c:v>
                </c:pt>
                <c:pt idx="3054">
                  <c:v>40148</c:v>
                </c:pt>
                <c:pt idx="3055">
                  <c:v>40149</c:v>
                </c:pt>
                <c:pt idx="3056">
                  <c:v>40150</c:v>
                </c:pt>
                <c:pt idx="3057">
                  <c:v>40151</c:v>
                </c:pt>
                <c:pt idx="3058">
                  <c:v>40154</c:v>
                </c:pt>
                <c:pt idx="3059">
                  <c:v>40155</c:v>
                </c:pt>
                <c:pt idx="3060">
                  <c:v>40156</c:v>
                </c:pt>
                <c:pt idx="3061">
                  <c:v>40157</c:v>
                </c:pt>
                <c:pt idx="3062">
                  <c:v>40158</c:v>
                </c:pt>
                <c:pt idx="3063">
                  <c:v>40161</c:v>
                </c:pt>
                <c:pt idx="3064">
                  <c:v>40162</c:v>
                </c:pt>
                <c:pt idx="3065">
                  <c:v>40163</c:v>
                </c:pt>
                <c:pt idx="3066">
                  <c:v>40164</c:v>
                </c:pt>
                <c:pt idx="3067">
                  <c:v>40165</c:v>
                </c:pt>
                <c:pt idx="3068">
                  <c:v>40168</c:v>
                </c:pt>
                <c:pt idx="3069">
                  <c:v>40169</c:v>
                </c:pt>
                <c:pt idx="3070">
                  <c:v>40170</c:v>
                </c:pt>
                <c:pt idx="3071">
                  <c:v>40171</c:v>
                </c:pt>
                <c:pt idx="3072">
                  <c:v>40175</c:v>
                </c:pt>
                <c:pt idx="3073">
                  <c:v>40176</c:v>
                </c:pt>
                <c:pt idx="3074">
                  <c:v>40177</c:v>
                </c:pt>
                <c:pt idx="3075">
                  <c:v>40178</c:v>
                </c:pt>
                <c:pt idx="3076">
                  <c:v>40182</c:v>
                </c:pt>
                <c:pt idx="3077">
                  <c:v>40183</c:v>
                </c:pt>
                <c:pt idx="3078">
                  <c:v>40184</c:v>
                </c:pt>
                <c:pt idx="3079">
                  <c:v>40185</c:v>
                </c:pt>
                <c:pt idx="3080">
                  <c:v>40186</c:v>
                </c:pt>
                <c:pt idx="3081">
                  <c:v>40189</c:v>
                </c:pt>
                <c:pt idx="3082">
                  <c:v>40190</c:v>
                </c:pt>
                <c:pt idx="3083">
                  <c:v>40191</c:v>
                </c:pt>
                <c:pt idx="3084">
                  <c:v>40192</c:v>
                </c:pt>
                <c:pt idx="3085">
                  <c:v>40193</c:v>
                </c:pt>
                <c:pt idx="3086">
                  <c:v>40197</c:v>
                </c:pt>
                <c:pt idx="3087">
                  <c:v>40198</c:v>
                </c:pt>
                <c:pt idx="3088">
                  <c:v>40199</c:v>
                </c:pt>
                <c:pt idx="3089">
                  <c:v>40200</c:v>
                </c:pt>
                <c:pt idx="3090">
                  <c:v>40203</c:v>
                </c:pt>
                <c:pt idx="3091">
                  <c:v>40204</c:v>
                </c:pt>
                <c:pt idx="3092">
                  <c:v>40205</c:v>
                </c:pt>
                <c:pt idx="3093">
                  <c:v>40206</c:v>
                </c:pt>
                <c:pt idx="3094">
                  <c:v>40207</c:v>
                </c:pt>
                <c:pt idx="3095">
                  <c:v>40210</c:v>
                </c:pt>
                <c:pt idx="3096">
                  <c:v>40211</c:v>
                </c:pt>
                <c:pt idx="3097">
                  <c:v>40212</c:v>
                </c:pt>
                <c:pt idx="3098">
                  <c:v>40213</c:v>
                </c:pt>
                <c:pt idx="3099">
                  <c:v>40214</c:v>
                </c:pt>
                <c:pt idx="3100">
                  <c:v>40217</c:v>
                </c:pt>
                <c:pt idx="3101">
                  <c:v>40218</c:v>
                </c:pt>
                <c:pt idx="3102">
                  <c:v>40219</c:v>
                </c:pt>
                <c:pt idx="3103">
                  <c:v>40220</c:v>
                </c:pt>
                <c:pt idx="3104">
                  <c:v>40221</c:v>
                </c:pt>
                <c:pt idx="3105">
                  <c:v>40225</c:v>
                </c:pt>
                <c:pt idx="3106">
                  <c:v>40226</c:v>
                </c:pt>
                <c:pt idx="3107">
                  <c:v>40227</c:v>
                </c:pt>
                <c:pt idx="3108">
                  <c:v>40228</c:v>
                </c:pt>
                <c:pt idx="3109">
                  <c:v>40231</c:v>
                </c:pt>
                <c:pt idx="3110">
                  <c:v>40232</c:v>
                </c:pt>
                <c:pt idx="3111">
                  <c:v>40233</c:v>
                </c:pt>
                <c:pt idx="3112">
                  <c:v>40234</c:v>
                </c:pt>
                <c:pt idx="3113">
                  <c:v>40235</c:v>
                </c:pt>
                <c:pt idx="3114">
                  <c:v>40238</c:v>
                </c:pt>
                <c:pt idx="3115">
                  <c:v>40239</c:v>
                </c:pt>
                <c:pt idx="3116">
                  <c:v>40240</c:v>
                </c:pt>
                <c:pt idx="3117">
                  <c:v>40241</c:v>
                </c:pt>
                <c:pt idx="3118">
                  <c:v>40242</c:v>
                </c:pt>
                <c:pt idx="3119">
                  <c:v>40245</c:v>
                </c:pt>
                <c:pt idx="3120">
                  <c:v>40246</c:v>
                </c:pt>
                <c:pt idx="3121">
                  <c:v>40247</c:v>
                </c:pt>
                <c:pt idx="3122">
                  <c:v>40248</c:v>
                </c:pt>
                <c:pt idx="3123">
                  <c:v>40249</c:v>
                </c:pt>
                <c:pt idx="3124">
                  <c:v>40252</c:v>
                </c:pt>
                <c:pt idx="3125">
                  <c:v>40253</c:v>
                </c:pt>
                <c:pt idx="3126">
                  <c:v>40254</c:v>
                </c:pt>
                <c:pt idx="3127">
                  <c:v>40255</c:v>
                </c:pt>
                <c:pt idx="3128">
                  <c:v>40256</c:v>
                </c:pt>
                <c:pt idx="3129">
                  <c:v>40259</c:v>
                </c:pt>
                <c:pt idx="3130">
                  <c:v>40260</c:v>
                </c:pt>
                <c:pt idx="3131">
                  <c:v>40261</c:v>
                </c:pt>
                <c:pt idx="3132">
                  <c:v>40262</c:v>
                </c:pt>
                <c:pt idx="3133">
                  <c:v>40263</c:v>
                </c:pt>
                <c:pt idx="3134">
                  <c:v>40266</c:v>
                </c:pt>
                <c:pt idx="3135">
                  <c:v>40267</c:v>
                </c:pt>
                <c:pt idx="3136">
                  <c:v>40268</c:v>
                </c:pt>
                <c:pt idx="3137">
                  <c:v>40269</c:v>
                </c:pt>
                <c:pt idx="3138">
                  <c:v>40273</c:v>
                </c:pt>
                <c:pt idx="3139">
                  <c:v>40274</c:v>
                </c:pt>
                <c:pt idx="3140">
                  <c:v>40275</c:v>
                </c:pt>
                <c:pt idx="3141">
                  <c:v>40276</c:v>
                </c:pt>
                <c:pt idx="3142">
                  <c:v>40277</c:v>
                </c:pt>
                <c:pt idx="3143">
                  <c:v>40280</c:v>
                </c:pt>
                <c:pt idx="3144">
                  <c:v>40281</c:v>
                </c:pt>
                <c:pt idx="3145">
                  <c:v>40282</c:v>
                </c:pt>
                <c:pt idx="3146">
                  <c:v>40283</c:v>
                </c:pt>
                <c:pt idx="3147">
                  <c:v>40284</c:v>
                </c:pt>
                <c:pt idx="3148">
                  <c:v>40287</c:v>
                </c:pt>
                <c:pt idx="3149">
                  <c:v>40288</c:v>
                </c:pt>
                <c:pt idx="3150">
                  <c:v>40289</c:v>
                </c:pt>
                <c:pt idx="3151">
                  <c:v>40290</c:v>
                </c:pt>
                <c:pt idx="3152">
                  <c:v>40291</c:v>
                </c:pt>
                <c:pt idx="3153">
                  <c:v>40294</c:v>
                </c:pt>
                <c:pt idx="3154">
                  <c:v>40295</c:v>
                </c:pt>
                <c:pt idx="3155">
                  <c:v>40296</c:v>
                </c:pt>
                <c:pt idx="3156">
                  <c:v>40297</c:v>
                </c:pt>
                <c:pt idx="3157">
                  <c:v>40298</c:v>
                </c:pt>
                <c:pt idx="3158">
                  <c:v>40301</c:v>
                </c:pt>
                <c:pt idx="3159">
                  <c:v>40302</c:v>
                </c:pt>
                <c:pt idx="3160">
                  <c:v>40303</c:v>
                </c:pt>
                <c:pt idx="3161">
                  <c:v>40304</c:v>
                </c:pt>
                <c:pt idx="3162">
                  <c:v>40305</c:v>
                </c:pt>
                <c:pt idx="3163">
                  <c:v>40308</c:v>
                </c:pt>
                <c:pt idx="3164">
                  <c:v>40309</c:v>
                </c:pt>
                <c:pt idx="3165">
                  <c:v>40310</c:v>
                </c:pt>
                <c:pt idx="3166">
                  <c:v>40311</c:v>
                </c:pt>
                <c:pt idx="3167">
                  <c:v>40312</c:v>
                </c:pt>
                <c:pt idx="3168">
                  <c:v>40315</c:v>
                </c:pt>
                <c:pt idx="3169">
                  <c:v>40316</c:v>
                </c:pt>
                <c:pt idx="3170">
                  <c:v>40317</c:v>
                </c:pt>
                <c:pt idx="3171">
                  <c:v>40318</c:v>
                </c:pt>
                <c:pt idx="3172">
                  <c:v>40319</c:v>
                </c:pt>
                <c:pt idx="3173">
                  <c:v>40322</c:v>
                </c:pt>
                <c:pt idx="3174">
                  <c:v>40323</c:v>
                </c:pt>
                <c:pt idx="3175">
                  <c:v>40324</c:v>
                </c:pt>
                <c:pt idx="3176">
                  <c:v>40325</c:v>
                </c:pt>
                <c:pt idx="3177">
                  <c:v>40326</c:v>
                </c:pt>
                <c:pt idx="3178">
                  <c:v>40330</c:v>
                </c:pt>
                <c:pt idx="3179">
                  <c:v>40331</c:v>
                </c:pt>
                <c:pt idx="3180">
                  <c:v>40332</c:v>
                </c:pt>
                <c:pt idx="3181">
                  <c:v>40333</c:v>
                </c:pt>
                <c:pt idx="3182">
                  <c:v>40336</c:v>
                </c:pt>
                <c:pt idx="3183">
                  <c:v>40337</c:v>
                </c:pt>
                <c:pt idx="3184">
                  <c:v>40338</c:v>
                </c:pt>
                <c:pt idx="3185">
                  <c:v>40339</c:v>
                </c:pt>
                <c:pt idx="3186">
                  <c:v>40340</c:v>
                </c:pt>
                <c:pt idx="3187">
                  <c:v>40343</c:v>
                </c:pt>
                <c:pt idx="3188">
                  <c:v>40344</c:v>
                </c:pt>
                <c:pt idx="3189">
                  <c:v>40345</c:v>
                </c:pt>
                <c:pt idx="3190">
                  <c:v>40346</c:v>
                </c:pt>
                <c:pt idx="3191">
                  <c:v>40347</c:v>
                </c:pt>
                <c:pt idx="3192">
                  <c:v>40350</c:v>
                </c:pt>
                <c:pt idx="3193">
                  <c:v>40351</c:v>
                </c:pt>
                <c:pt idx="3194">
                  <c:v>40352</c:v>
                </c:pt>
                <c:pt idx="3195">
                  <c:v>40353</c:v>
                </c:pt>
                <c:pt idx="3196">
                  <c:v>40354</c:v>
                </c:pt>
                <c:pt idx="3197">
                  <c:v>40357</c:v>
                </c:pt>
                <c:pt idx="3198">
                  <c:v>40358</c:v>
                </c:pt>
                <c:pt idx="3199">
                  <c:v>40359</c:v>
                </c:pt>
                <c:pt idx="3200">
                  <c:v>40360</c:v>
                </c:pt>
                <c:pt idx="3201">
                  <c:v>40361</c:v>
                </c:pt>
                <c:pt idx="3202">
                  <c:v>40365</c:v>
                </c:pt>
                <c:pt idx="3203">
                  <c:v>40366</c:v>
                </c:pt>
                <c:pt idx="3204">
                  <c:v>40367</c:v>
                </c:pt>
                <c:pt idx="3205">
                  <c:v>40368</c:v>
                </c:pt>
                <c:pt idx="3206">
                  <c:v>40371</c:v>
                </c:pt>
                <c:pt idx="3207">
                  <c:v>40372</c:v>
                </c:pt>
                <c:pt idx="3208">
                  <c:v>40373</c:v>
                </c:pt>
                <c:pt idx="3209">
                  <c:v>40374</c:v>
                </c:pt>
                <c:pt idx="3210">
                  <c:v>40375</c:v>
                </c:pt>
                <c:pt idx="3211">
                  <c:v>40378</c:v>
                </c:pt>
                <c:pt idx="3212">
                  <c:v>40379</c:v>
                </c:pt>
                <c:pt idx="3213">
                  <c:v>40380</c:v>
                </c:pt>
                <c:pt idx="3214">
                  <c:v>40381</c:v>
                </c:pt>
                <c:pt idx="3215">
                  <c:v>40382</c:v>
                </c:pt>
                <c:pt idx="3216">
                  <c:v>40385</c:v>
                </c:pt>
                <c:pt idx="3217">
                  <c:v>40386</c:v>
                </c:pt>
                <c:pt idx="3218">
                  <c:v>40387</c:v>
                </c:pt>
                <c:pt idx="3219">
                  <c:v>40388</c:v>
                </c:pt>
                <c:pt idx="3220">
                  <c:v>40389</c:v>
                </c:pt>
                <c:pt idx="3221">
                  <c:v>40392</c:v>
                </c:pt>
                <c:pt idx="3222">
                  <c:v>40393</c:v>
                </c:pt>
                <c:pt idx="3223">
                  <c:v>40394</c:v>
                </c:pt>
                <c:pt idx="3224">
                  <c:v>40395</c:v>
                </c:pt>
                <c:pt idx="3225">
                  <c:v>40396</c:v>
                </c:pt>
                <c:pt idx="3226">
                  <c:v>40399</c:v>
                </c:pt>
                <c:pt idx="3227">
                  <c:v>40400</c:v>
                </c:pt>
                <c:pt idx="3228">
                  <c:v>40401</c:v>
                </c:pt>
                <c:pt idx="3229">
                  <c:v>40402</c:v>
                </c:pt>
                <c:pt idx="3230">
                  <c:v>40403</c:v>
                </c:pt>
                <c:pt idx="3231">
                  <c:v>40406</c:v>
                </c:pt>
                <c:pt idx="3232">
                  <c:v>40407</c:v>
                </c:pt>
                <c:pt idx="3233">
                  <c:v>40408</c:v>
                </c:pt>
                <c:pt idx="3234">
                  <c:v>40409</c:v>
                </c:pt>
                <c:pt idx="3235">
                  <c:v>40410</c:v>
                </c:pt>
                <c:pt idx="3236">
                  <c:v>40413</c:v>
                </c:pt>
                <c:pt idx="3237">
                  <c:v>40414</c:v>
                </c:pt>
                <c:pt idx="3238">
                  <c:v>40415</c:v>
                </c:pt>
                <c:pt idx="3239">
                  <c:v>40416</c:v>
                </c:pt>
                <c:pt idx="3240">
                  <c:v>40417</c:v>
                </c:pt>
                <c:pt idx="3241">
                  <c:v>40420</c:v>
                </c:pt>
                <c:pt idx="3242">
                  <c:v>40421</c:v>
                </c:pt>
                <c:pt idx="3243">
                  <c:v>40422</c:v>
                </c:pt>
                <c:pt idx="3244">
                  <c:v>40423</c:v>
                </c:pt>
                <c:pt idx="3245">
                  <c:v>40424</c:v>
                </c:pt>
                <c:pt idx="3246">
                  <c:v>40428</c:v>
                </c:pt>
                <c:pt idx="3247">
                  <c:v>40429</c:v>
                </c:pt>
                <c:pt idx="3248">
                  <c:v>40430</c:v>
                </c:pt>
                <c:pt idx="3249">
                  <c:v>40431</c:v>
                </c:pt>
                <c:pt idx="3250">
                  <c:v>40434</c:v>
                </c:pt>
                <c:pt idx="3251">
                  <c:v>40435</c:v>
                </c:pt>
                <c:pt idx="3252">
                  <c:v>40436</c:v>
                </c:pt>
                <c:pt idx="3253">
                  <c:v>40437</c:v>
                </c:pt>
                <c:pt idx="3254">
                  <c:v>40438</c:v>
                </c:pt>
                <c:pt idx="3255">
                  <c:v>40441</c:v>
                </c:pt>
                <c:pt idx="3256">
                  <c:v>40442</c:v>
                </c:pt>
                <c:pt idx="3257">
                  <c:v>40443</c:v>
                </c:pt>
                <c:pt idx="3258">
                  <c:v>40444</c:v>
                </c:pt>
                <c:pt idx="3259">
                  <c:v>40445</c:v>
                </c:pt>
                <c:pt idx="3260">
                  <c:v>40448</c:v>
                </c:pt>
                <c:pt idx="3261">
                  <c:v>40449</c:v>
                </c:pt>
                <c:pt idx="3262">
                  <c:v>40450</c:v>
                </c:pt>
                <c:pt idx="3263">
                  <c:v>40451</c:v>
                </c:pt>
                <c:pt idx="3264">
                  <c:v>40452</c:v>
                </c:pt>
                <c:pt idx="3265">
                  <c:v>40455</c:v>
                </c:pt>
                <c:pt idx="3266">
                  <c:v>40456</c:v>
                </c:pt>
                <c:pt idx="3267">
                  <c:v>40457</c:v>
                </c:pt>
                <c:pt idx="3268">
                  <c:v>40458</c:v>
                </c:pt>
                <c:pt idx="3269">
                  <c:v>40459</c:v>
                </c:pt>
                <c:pt idx="3270">
                  <c:v>40462</c:v>
                </c:pt>
                <c:pt idx="3271">
                  <c:v>40463</c:v>
                </c:pt>
                <c:pt idx="3272">
                  <c:v>40464</c:v>
                </c:pt>
                <c:pt idx="3273">
                  <c:v>40465</c:v>
                </c:pt>
                <c:pt idx="3274">
                  <c:v>40466</c:v>
                </c:pt>
                <c:pt idx="3275">
                  <c:v>40469</c:v>
                </c:pt>
                <c:pt idx="3276">
                  <c:v>40470</c:v>
                </c:pt>
                <c:pt idx="3277">
                  <c:v>40471</c:v>
                </c:pt>
                <c:pt idx="3278">
                  <c:v>40472</c:v>
                </c:pt>
                <c:pt idx="3279">
                  <c:v>40473</c:v>
                </c:pt>
                <c:pt idx="3280">
                  <c:v>40476</c:v>
                </c:pt>
                <c:pt idx="3281">
                  <c:v>40477</c:v>
                </c:pt>
                <c:pt idx="3282">
                  <c:v>40478</c:v>
                </c:pt>
                <c:pt idx="3283">
                  <c:v>40479</c:v>
                </c:pt>
                <c:pt idx="3284">
                  <c:v>40480</c:v>
                </c:pt>
                <c:pt idx="3285">
                  <c:v>40483</c:v>
                </c:pt>
                <c:pt idx="3286">
                  <c:v>40484</c:v>
                </c:pt>
                <c:pt idx="3287">
                  <c:v>40485</c:v>
                </c:pt>
                <c:pt idx="3288">
                  <c:v>40486</c:v>
                </c:pt>
                <c:pt idx="3289">
                  <c:v>40487</c:v>
                </c:pt>
                <c:pt idx="3290">
                  <c:v>40490</c:v>
                </c:pt>
                <c:pt idx="3291">
                  <c:v>40491</c:v>
                </c:pt>
                <c:pt idx="3292">
                  <c:v>40492</c:v>
                </c:pt>
                <c:pt idx="3293">
                  <c:v>40493</c:v>
                </c:pt>
                <c:pt idx="3294">
                  <c:v>40494</c:v>
                </c:pt>
                <c:pt idx="3295">
                  <c:v>40497</c:v>
                </c:pt>
                <c:pt idx="3296">
                  <c:v>40498</c:v>
                </c:pt>
                <c:pt idx="3297">
                  <c:v>40499</c:v>
                </c:pt>
                <c:pt idx="3298">
                  <c:v>40500</c:v>
                </c:pt>
                <c:pt idx="3299">
                  <c:v>40501</c:v>
                </c:pt>
                <c:pt idx="3300">
                  <c:v>40504</c:v>
                </c:pt>
                <c:pt idx="3301">
                  <c:v>40505</c:v>
                </c:pt>
                <c:pt idx="3302">
                  <c:v>40506</c:v>
                </c:pt>
                <c:pt idx="3303">
                  <c:v>40508</c:v>
                </c:pt>
                <c:pt idx="3304">
                  <c:v>40511</c:v>
                </c:pt>
                <c:pt idx="3305">
                  <c:v>40512</c:v>
                </c:pt>
                <c:pt idx="3306">
                  <c:v>40513</c:v>
                </c:pt>
                <c:pt idx="3307">
                  <c:v>40514</c:v>
                </c:pt>
                <c:pt idx="3308">
                  <c:v>40515</c:v>
                </c:pt>
                <c:pt idx="3309">
                  <c:v>40518</c:v>
                </c:pt>
                <c:pt idx="3310">
                  <c:v>40519</c:v>
                </c:pt>
                <c:pt idx="3311">
                  <c:v>40520</c:v>
                </c:pt>
                <c:pt idx="3312">
                  <c:v>40521</c:v>
                </c:pt>
                <c:pt idx="3313">
                  <c:v>40522</c:v>
                </c:pt>
                <c:pt idx="3314">
                  <c:v>40525</c:v>
                </c:pt>
                <c:pt idx="3315">
                  <c:v>40526</c:v>
                </c:pt>
                <c:pt idx="3316">
                  <c:v>40527</c:v>
                </c:pt>
                <c:pt idx="3317">
                  <c:v>40528</c:v>
                </c:pt>
                <c:pt idx="3318">
                  <c:v>40529</c:v>
                </c:pt>
                <c:pt idx="3319">
                  <c:v>40532</c:v>
                </c:pt>
                <c:pt idx="3320">
                  <c:v>40533</c:v>
                </c:pt>
                <c:pt idx="3321">
                  <c:v>40534</c:v>
                </c:pt>
                <c:pt idx="3322">
                  <c:v>40535</c:v>
                </c:pt>
                <c:pt idx="3323">
                  <c:v>40539</c:v>
                </c:pt>
                <c:pt idx="3324">
                  <c:v>40540</c:v>
                </c:pt>
                <c:pt idx="3325">
                  <c:v>40541</c:v>
                </c:pt>
                <c:pt idx="3326">
                  <c:v>40542</c:v>
                </c:pt>
                <c:pt idx="3327">
                  <c:v>40543</c:v>
                </c:pt>
                <c:pt idx="3328">
                  <c:v>40546</c:v>
                </c:pt>
                <c:pt idx="3329">
                  <c:v>40547</c:v>
                </c:pt>
                <c:pt idx="3330">
                  <c:v>40548</c:v>
                </c:pt>
                <c:pt idx="3331">
                  <c:v>40549</c:v>
                </c:pt>
                <c:pt idx="3332">
                  <c:v>40550</c:v>
                </c:pt>
                <c:pt idx="3333">
                  <c:v>40553</c:v>
                </c:pt>
                <c:pt idx="3334">
                  <c:v>40554</c:v>
                </c:pt>
                <c:pt idx="3335">
                  <c:v>40555</c:v>
                </c:pt>
                <c:pt idx="3336">
                  <c:v>40556</c:v>
                </c:pt>
                <c:pt idx="3337">
                  <c:v>40557</c:v>
                </c:pt>
                <c:pt idx="3338">
                  <c:v>40561</c:v>
                </c:pt>
                <c:pt idx="3339">
                  <c:v>40562</c:v>
                </c:pt>
                <c:pt idx="3340">
                  <c:v>40563</c:v>
                </c:pt>
                <c:pt idx="3341">
                  <c:v>40564</c:v>
                </c:pt>
                <c:pt idx="3342">
                  <c:v>40567</c:v>
                </c:pt>
                <c:pt idx="3343">
                  <c:v>40568</c:v>
                </c:pt>
                <c:pt idx="3344">
                  <c:v>40569</c:v>
                </c:pt>
                <c:pt idx="3345">
                  <c:v>40570</c:v>
                </c:pt>
                <c:pt idx="3346">
                  <c:v>40571</c:v>
                </c:pt>
                <c:pt idx="3347">
                  <c:v>40574</c:v>
                </c:pt>
                <c:pt idx="3348">
                  <c:v>40575</c:v>
                </c:pt>
                <c:pt idx="3349">
                  <c:v>40576</c:v>
                </c:pt>
                <c:pt idx="3350">
                  <c:v>40577</c:v>
                </c:pt>
                <c:pt idx="3351">
                  <c:v>40578</c:v>
                </c:pt>
                <c:pt idx="3352">
                  <c:v>40581</c:v>
                </c:pt>
                <c:pt idx="3353">
                  <c:v>40582</c:v>
                </c:pt>
                <c:pt idx="3354">
                  <c:v>40583</c:v>
                </c:pt>
                <c:pt idx="3355">
                  <c:v>40584</c:v>
                </c:pt>
                <c:pt idx="3356">
                  <c:v>40585</c:v>
                </c:pt>
                <c:pt idx="3357">
                  <c:v>40588</c:v>
                </c:pt>
                <c:pt idx="3358">
                  <c:v>40589</c:v>
                </c:pt>
                <c:pt idx="3359">
                  <c:v>40590</c:v>
                </c:pt>
                <c:pt idx="3360">
                  <c:v>40591</c:v>
                </c:pt>
                <c:pt idx="3361">
                  <c:v>40592</c:v>
                </c:pt>
                <c:pt idx="3362">
                  <c:v>40596</c:v>
                </c:pt>
                <c:pt idx="3363">
                  <c:v>40597</c:v>
                </c:pt>
                <c:pt idx="3364">
                  <c:v>40598</c:v>
                </c:pt>
                <c:pt idx="3365">
                  <c:v>40599</c:v>
                </c:pt>
                <c:pt idx="3366">
                  <c:v>40602</c:v>
                </c:pt>
                <c:pt idx="3367">
                  <c:v>40603</c:v>
                </c:pt>
                <c:pt idx="3368">
                  <c:v>40604</c:v>
                </c:pt>
                <c:pt idx="3369">
                  <c:v>40605</c:v>
                </c:pt>
                <c:pt idx="3370">
                  <c:v>40606</c:v>
                </c:pt>
                <c:pt idx="3371">
                  <c:v>40609</c:v>
                </c:pt>
                <c:pt idx="3372">
                  <c:v>40610</c:v>
                </c:pt>
                <c:pt idx="3373">
                  <c:v>40611</c:v>
                </c:pt>
                <c:pt idx="3374">
                  <c:v>40612</c:v>
                </c:pt>
                <c:pt idx="3375">
                  <c:v>40613</c:v>
                </c:pt>
                <c:pt idx="3376">
                  <c:v>40616</c:v>
                </c:pt>
                <c:pt idx="3377">
                  <c:v>40617</c:v>
                </c:pt>
                <c:pt idx="3378">
                  <c:v>40618</c:v>
                </c:pt>
                <c:pt idx="3379">
                  <c:v>40619</c:v>
                </c:pt>
                <c:pt idx="3380">
                  <c:v>40620</c:v>
                </c:pt>
                <c:pt idx="3381">
                  <c:v>40623</c:v>
                </c:pt>
                <c:pt idx="3382">
                  <c:v>40624</c:v>
                </c:pt>
                <c:pt idx="3383">
                  <c:v>40625</c:v>
                </c:pt>
                <c:pt idx="3384">
                  <c:v>40626</c:v>
                </c:pt>
                <c:pt idx="3385">
                  <c:v>40627</c:v>
                </c:pt>
                <c:pt idx="3386">
                  <c:v>40630</c:v>
                </c:pt>
                <c:pt idx="3387">
                  <c:v>40631</c:v>
                </c:pt>
                <c:pt idx="3388">
                  <c:v>40632</c:v>
                </c:pt>
                <c:pt idx="3389">
                  <c:v>40633</c:v>
                </c:pt>
                <c:pt idx="3390">
                  <c:v>40634</c:v>
                </c:pt>
                <c:pt idx="3391">
                  <c:v>40637</c:v>
                </c:pt>
                <c:pt idx="3392">
                  <c:v>40638</c:v>
                </c:pt>
                <c:pt idx="3393">
                  <c:v>40639</c:v>
                </c:pt>
                <c:pt idx="3394">
                  <c:v>40640</c:v>
                </c:pt>
                <c:pt idx="3395">
                  <c:v>40641</c:v>
                </c:pt>
                <c:pt idx="3396">
                  <c:v>40644</c:v>
                </c:pt>
                <c:pt idx="3397">
                  <c:v>40645</c:v>
                </c:pt>
                <c:pt idx="3398">
                  <c:v>40646</c:v>
                </c:pt>
                <c:pt idx="3399">
                  <c:v>40647</c:v>
                </c:pt>
                <c:pt idx="3400">
                  <c:v>40648</c:v>
                </c:pt>
                <c:pt idx="3401">
                  <c:v>40651</c:v>
                </c:pt>
                <c:pt idx="3402">
                  <c:v>40652</c:v>
                </c:pt>
                <c:pt idx="3403">
                  <c:v>40653</c:v>
                </c:pt>
                <c:pt idx="3404">
                  <c:v>40654</c:v>
                </c:pt>
                <c:pt idx="3405">
                  <c:v>40658</c:v>
                </c:pt>
                <c:pt idx="3406">
                  <c:v>40659</c:v>
                </c:pt>
                <c:pt idx="3407">
                  <c:v>40660</c:v>
                </c:pt>
                <c:pt idx="3408">
                  <c:v>40661</c:v>
                </c:pt>
                <c:pt idx="3409">
                  <c:v>40662</c:v>
                </c:pt>
                <c:pt idx="3410">
                  <c:v>40665</c:v>
                </c:pt>
                <c:pt idx="3411">
                  <c:v>40666</c:v>
                </c:pt>
                <c:pt idx="3412">
                  <c:v>40667</c:v>
                </c:pt>
                <c:pt idx="3413">
                  <c:v>40668</c:v>
                </c:pt>
                <c:pt idx="3414">
                  <c:v>40669</c:v>
                </c:pt>
                <c:pt idx="3415">
                  <c:v>40672</c:v>
                </c:pt>
                <c:pt idx="3416">
                  <c:v>40673</c:v>
                </c:pt>
                <c:pt idx="3417">
                  <c:v>40674</c:v>
                </c:pt>
                <c:pt idx="3418">
                  <c:v>40675</c:v>
                </c:pt>
                <c:pt idx="3419">
                  <c:v>40676</c:v>
                </c:pt>
                <c:pt idx="3420">
                  <c:v>40679</c:v>
                </c:pt>
                <c:pt idx="3421">
                  <c:v>40680</c:v>
                </c:pt>
                <c:pt idx="3422">
                  <c:v>40681</c:v>
                </c:pt>
                <c:pt idx="3423">
                  <c:v>40682</c:v>
                </c:pt>
                <c:pt idx="3424">
                  <c:v>40683</c:v>
                </c:pt>
                <c:pt idx="3425">
                  <c:v>40686</c:v>
                </c:pt>
                <c:pt idx="3426">
                  <c:v>40687</c:v>
                </c:pt>
                <c:pt idx="3427">
                  <c:v>40688</c:v>
                </c:pt>
                <c:pt idx="3428">
                  <c:v>40689</c:v>
                </c:pt>
                <c:pt idx="3429">
                  <c:v>40690</c:v>
                </c:pt>
                <c:pt idx="3430">
                  <c:v>40694</c:v>
                </c:pt>
                <c:pt idx="3431">
                  <c:v>40695</c:v>
                </c:pt>
                <c:pt idx="3432">
                  <c:v>40696</c:v>
                </c:pt>
                <c:pt idx="3433">
                  <c:v>40697</c:v>
                </c:pt>
                <c:pt idx="3434">
                  <c:v>40700</c:v>
                </c:pt>
                <c:pt idx="3435">
                  <c:v>40701</c:v>
                </c:pt>
                <c:pt idx="3436">
                  <c:v>40702</c:v>
                </c:pt>
                <c:pt idx="3437">
                  <c:v>40703</c:v>
                </c:pt>
                <c:pt idx="3438">
                  <c:v>40704</c:v>
                </c:pt>
                <c:pt idx="3439">
                  <c:v>40707</c:v>
                </c:pt>
                <c:pt idx="3440">
                  <c:v>40708</c:v>
                </c:pt>
                <c:pt idx="3441">
                  <c:v>40709</c:v>
                </c:pt>
                <c:pt idx="3442">
                  <c:v>40710</c:v>
                </c:pt>
                <c:pt idx="3443">
                  <c:v>40711</c:v>
                </c:pt>
                <c:pt idx="3444">
                  <c:v>40714</c:v>
                </c:pt>
                <c:pt idx="3445">
                  <c:v>40715</c:v>
                </c:pt>
                <c:pt idx="3446">
                  <c:v>40716</c:v>
                </c:pt>
                <c:pt idx="3447">
                  <c:v>40717</c:v>
                </c:pt>
                <c:pt idx="3448">
                  <c:v>40718</c:v>
                </c:pt>
                <c:pt idx="3449">
                  <c:v>40721</c:v>
                </c:pt>
                <c:pt idx="3450">
                  <c:v>40722</c:v>
                </c:pt>
                <c:pt idx="3451">
                  <c:v>40723</c:v>
                </c:pt>
                <c:pt idx="3452">
                  <c:v>40724</c:v>
                </c:pt>
                <c:pt idx="3453">
                  <c:v>40725</c:v>
                </c:pt>
                <c:pt idx="3454">
                  <c:v>40729</c:v>
                </c:pt>
                <c:pt idx="3455">
                  <c:v>40730</c:v>
                </c:pt>
                <c:pt idx="3456">
                  <c:v>40731</c:v>
                </c:pt>
                <c:pt idx="3457">
                  <c:v>40732</c:v>
                </c:pt>
                <c:pt idx="3458">
                  <c:v>40735</c:v>
                </c:pt>
                <c:pt idx="3459">
                  <c:v>40736</c:v>
                </c:pt>
                <c:pt idx="3460">
                  <c:v>40737</c:v>
                </c:pt>
                <c:pt idx="3461">
                  <c:v>40738</c:v>
                </c:pt>
                <c:pt idx="3462">
                  <c:v>40739</c:v>
                </c:pt>
                <c:pt idx="3463">
                  <c:v>40742</c:v>
                </c:pt>
                <c:pt idx="3464">
                  <c:v>40743</c:v>
                </c:pt>
                <c:pt idx="3465">
                  <c:v>40744</c:v>
                </c:pt>
                <c:pt idx="3466">
                  <c:v>40745</c:v>
                </c:pt>
                <c:pt idx="3467">
                  <c:v>40746</c:v>
                </c:pt>
                <c:pt idx="3468">
                  <c:v>40749</c:v>
                </c:pt>
                <c:pt idx="3469">
                  <c:v>40750</c:v>
                </c:pt>
                <c:pt idx="3470">
                  <c:v>40751</c:v>
                </c:pt>
                <c:pt idx="3471">
                  <c:v>40752</c:v>
                </c:pt>
                <c:pt idx="3472">
                  <c:v>40753</c:v>
                </c:pt>
                <c:pt idx="3473">
                  <c:v>40756</c:v>
                </c:pt>
                <c:pt idx="3474">
                  <c:v>40757</c:v>
                </c:pt>
                <c:pt idx="3475">
                  <c:v>40758</c:v>
                </c:pt>
                <c:pt idx="3476">
                  <c:v>40759</c:v>
                </c:pt>
                <c:pt idx="3477">
                  <c:v>40760</c:v>
                </c:pt>
                <c:pt idx="3478">
                  <c:v>40763</c:v>
                </c:pt>
                <c:pt idx="3479">
                  <c:v>40764</c:v>
                </c:pt>
                <c:pt idx="3480">
                  <c:v>40765</c:v>
                </c:pt>
                <c:pt idx="3481">
                  <c:v>40766</c:v>
                </c:pt>
                <c:pt idx="3482">
                  <c:v>40767</c:v>
                </c:pt>
                <c:pt idx="3483">
                  <c:v>40770</c:v>
                </c:pt>
                <c:pt idx="3484">
                  <c:v>40771</c:v>
                </c:pt>
                <c:pt idx="3485">
                  <c:v>40772</c:v>
                </c:pt>
                <c:pt idx="3486">
                  <c:v>40773</c:v>
                </c:pt>
                <c:pt idx="3487">
                  <c:v>40774</c:v>
                </c:pt>
                <c:pt idx="3488">
                  <c:v>40777</c:v>
                </c:pt>
                <c:pt idx="3489">
                  <c:v>40778</c:v>
                </c:pt>
                <c:pt idx="3490">
                  <c:v>40779</c:v>
                </c:pt>
                <c:pt idx="3491">
                  <c:v>40780</c:v>
                </c:pt>
                <c:pt idx="3492">
                  <c:v>40781</c:v>
                </c:pt>
                <c:pt idx="3493">
                  <c:v>40784</c:v>
                </c:pt>
                <c:pt idx="3494">
                  <c:v>40785</c:v>
                </c:pt>
                <c:pt idx="3495">
                  <c:v>40786</c:v>
                </c:pt>
                <c:pt idx="3496">
                  <c:v>40787</c:v>
                </c:pt>
                <c:pt idx="3497">
                  <c:v>40788</c:v>
                </c:pt>
                <c:pt idx="3498">
                  <c:v>40792</c:v>
                </c:pt>
                <c:pt idx="3499">
                  <c:v>40793</c:v>
                </c:pt>
                <c:pt idx="3500">
                  <c:v>40794</c:v>
                </c:pt>
                <c:pt idx="3501">
                  <c:v>40795</c:v>
                </c:pt>
                <c:pt idx="3502">
                  <c:v>40798</c:v>
                </c:pt>
                <c:pt idx="3503">
                  <c:v>40799</c:v>
                </c:pt>
                <c:pt idx="3504">
                  <c:v>40800</c:v>
                </c:pt>
                <c:pt idx="3505">
                  <c:v>40801</c:v>
                </c:pt>
                <c:pt idx="3506">
                  <c:v>40802</c:v>
                </c:pt>
                <c:pt idx="3507">
                  <c:v>40805</c:v>
                </c:pt>
                <c:pt idx="3508">
                  <c:v>40806</c:v>
                </c:pt>
                <c:pt idx="3509">
                  <c:v>40807</c:v>
                </c:pt>
                <c:pt idx="3510">
                  <c:v>40808</c:v>
                </c:pt>
                <c:pt idx="3511">
                  <c:v>40809</c:v>
                </c:pt>
                <c:pt idx="3512">
                  <c:v>40812</c:v>
                </c:pt>
                <c:pt idx="3513">
                  <c:v>40813</c:v>
                </c:pt>
                <c:pt idx="3514">
                  <c:v>40814</c:v>
                </c:pt>
                <c:pt idx="3515">
                  <c:v>40815</c:v>
                </c:pt>
                <c:pt idx="3516">
                  <c:v>40816</c:v>
                </c:pt>
                <c:pt idx="3517">
                  <c:v>40819</c:v>
                </c:pt>
                <c:pt idx="3518">
                  <c:v>40820</c:v>
                </c:pt>
                <c:pt idx="3519">
                  <c:v>40821</c:v>
                </c:pt>
                <c:pt idx="3520">
                  <c:v>40822</c:v>
                </c:pt>
                <c:pt idx="3521">
                  <c:v>40823</c:v>
                </c:pt>
                <c:pt idx="3522">
                  <c:v>40826</c:v>
                </c:pt>
                <c:pt idx="3523">
                  <c:v>40827</c:v>
                </c:pt>
                <c:pt idx="3524">
                  <c:v>40828</c:v>
                </c:pt>
                <c:pt idx="3525">
                  <c:v>40829</c:v>
                </c:pt>
                <c:pt idx="3526">
                  <c:v>40830</c:v>
                </c:pt>
                <c:pt idx="3527">
                  <c:v>40833</c:v>
                </c:pt>
                <c:pt idx="3528">
                  <c:v>40834</c:v>
                </c:pt>
                <c:pt idx="3529">
                  <c:v>40835</c:v>
                </c:pt>
                <c:pt idx="3530">
                  <c:v>40836</c:v>
                </c:pt>
                <c:pt idx="3531">
                  <c:v>40837</c:v>
                </c:pt>
                <c:pt idx="3532">
                  <c:v>40840</c:v>
                </c:pt>
                <c:pt idx="3533">
                  <c:v>40841</c:v>
                </c:pt>
                <c:pt idx="3534">
                  <c:v>40842</c:v>
                </c:pt>
                <c:pt idx="3535">
                  <c:v>40843</c:v>
                </c:pt>
                <c:pt idx="3536">
                  <c:v>40844</c:v>
                </c:pt>
                <c:pt idx="3537">
                  <c:v>40847</c:v>
                </c:pt>
                <c:pt idx="3538">
                  <c:v>40848</c:v>
                </c:pt>
                <c:pt idx="3539">
                  <c:v>40849</c:v>
                </c:pt>
                <c:pt idx="3540">
                  <c:v>40850</c:v>
                </c:pt>
                <c:pt idx="3541">
                  <c:v>40851</c:v>
                </c:pt>
                <c:pt idx="3542">
                  <c:v>40854</c:v>
                </c:pt>
                <c:pt idx="3543">
                  <c:v>40855</c:v>
                </c:pt>
                <c:pt idx="3544">
                  <c:v>40856</c:v>
                </c:pt>
                <c:pt idx="3545">
                  <c:v>40857</c:v>
                </c:pt>
                <c:pt idx="3546">
                  <c:v>40858</c:v>
                </c:pt>
                <c:pt idx="3547">
                  <c:v>40861</c:v>
                </c:pt>
                <c:pt idx="3548">
                  <c:v>40862</c:v>
                </c:pt>
                <c:pt idx="3549">
                  <c:v>40863</c:v>
                </c:pt>
                <c:pt idx="3550">
                  <c:v>40864</c:v>
                </c:pt>
                <c:pt idx="3551">
                  <c:v>40865</c:v>
                </c:pt>
                <c:pt idx="3552">
                  <c:v>40868</c:v>
                </c:pt>
                <c:pt idx="3553">
                  <c:v>40869</c:v>
                </c:pt>
                <c:pt idx="3554">
                  <c:v>40870</c:v>
                </c:pt>
                <c:pt idx="3555">
                  <c:v>40872</c:v>
                </c:pt>
                <c:pt idx="3556">
                  <c:v>40875</c:v>
                </c:pt>
                <c:pt idx="3557">
                  <c:v>40876</c:v>
                </c:pt>
                <c:pt idx="3558">
                  <c:v>40877</c:v>
                </c:pt>
                <c:pt idx="3559">
                  <c:v>40878</c:v>
                </c:pt>
                <c:pt idx="3560">
                  <c:v>40879</c:v>
                </c:pt>
                <c:pt idx="3561">
                  <c:v>40882</c:v>
                </c:pt>
                <c:pt idx="3562">
                  <c:v>40883</c:v>
                </c:pt>
                <c:pt idx="3563">
                  <c:v>40884</c:v>
                </c:pt>
                <c:pt idx="3564">
                  <c:v>40885</c:v>
                </c:pt>
                <c:pt idx="3565">
                  <c:v>40886</c:v>
                </c:pt>
                <c:pt idx="3566">
                  <c:v>40889</c:v>
                </c:pt>
                <c:pt idx="3567">
                  <c:v>40890</c:v>
                </c:pt>
                <c:pt idx="3568">
                  <c:v>40891</c:v>
                </c:pt>
                <c:pt idx="3569">
                  <c:v>40892</c:v>
                </c:pt>
                <c:pt idx="3570">
                  <c:v>40893</c:v>
                </c:pt>
                <c:pt idx="3571">
                  <c:v>40896</c:v>
                </c:pt>
                <c:pt idx="3572">
                  <c:v>40897</c:v>
                </c:pt>
                <c:pt idx="3573">
                  <c:v>40898</c:v>
                </c:pt>
                <c:pt idx="3574">
                  <c:v>40899</c:v>
                </c:pt>
                <c:pt idx="3575">
                  <c:v>40900</c:v>
                </c:pt>
                <c:pt idx="3576">
                  <c:v>40904</c:v>
                </c:pt>
                <c:pt idx="3577">
                  <c:v>40905</c:v>
                </c:pt>
                <c:pt idx="3578">
                  <c:v>40906</c:v>
                </c:pt>
                <c:pt idx="3579">
                  <c:v>40907</c:v>
                </c:pt>
                <c:pt idx="3580">
                  <c:v>40911</c:v>
                </c:pt>
                <c:pt idx="3581">
                  <c:v>40912</c:v>
                </c:pt>
                <c:pt idx="3582">
                  <c:v>40913</c:v>
                </c:pt>
                <c:pt idx="3583">
                  <c:v>40914</c:v>
                </c:pt>
                <c:pt idx="3584">
                  <c:v>40917</c:v>
                </c:pt>
                <c:pt idx="3585">
                  <c:v>40918</c:v>
                </c:pt>
                <c:pt idx="3586">
                  <c:v>40919</c:v>
                </c:pt>
                <c:pt idx="3587">
                  <c:v>40920</c:v>
                </c:pt>
                <c:pt idx="3588">
                  <c:v>40921</c:v>
                </c:pt>
                <c:pt idx="3589">
                  <c:v>40925</c:v>
                </c:pt>
                <c:pt idx="3590">
                  <c:v>40926</c:v>
                </c:pt>
                <c:pt idx="3591">
                  <c:v>40927</c:v>
                </c:pt>
                <c:pt idx="3592">
                  <c:v>40928</c:v>
                </c:pt>
                <c:pt idx="3593">
                  <c:v>40931</c:v>
                </c:pt>
                <c:pt idx="3594">
                  <c:v>40932</c:v>
                </c:pt>
                <c:pt idx="3595">
                  <c:v>40933</c:v>
                </c:pt>
                <c:pt idx="3596">
                  <c:v>40934</c:v>
                </c:pt>
                <c:pt idx="3597">
                  <c:v>40935</c:v>
                </c:pt>
                <c:pt idx="3598">
                  <c:v>40938</c:v>
                </c:pt>
                <c:pt idx="3599">
                  <c:v>40939</c:v>
                </c:pt>
                <c:pt idx="3600">
                  <c:v>40940</c:v>
                </c:pt>
                <c:pt idx="3601">
                  <c:v>40941</c:v>
                </c:pt>
                <c:pt idx="3602">
                  <c:v>40942</c:v>
                </c:pt>
                <c:pt idx="3603">
                  <c:v>40945</c:v>
                </c:pt>
                <c:pt idx="3604">
                  <c:v>40946</c:v>
                </c:pt>
                <c:pt idx="3605">
                  <c:v>40947</c:v>
                </c:pt>
                <c:pt idx="3606">
                  <c:v>40948</c:v>
                </c:pt>
                <c:pt idx="3607">
                  <c:v>40949</c:v>
                </c:pt>
                <c:pt idx="3608">
                  <c:v>40952</c:v>
                </c:pt>
                <c:pt idx="3609">
                  <c:v>40953</c:v>
                </c:pt>
                <c:pt idx="3610">
                  <c:v>40954</c:v>
                </c:pt>
                <c:pt idx="3611">
                  <c:v>40955</c:v>
                </c:pt>
                <c:pt idx="3612">
                  <c:v>40956</c:v>
                </c:pt>
                <c:pt idx="3613">
                  <c:v>40960</c:v>
                </c:pt>
                <c:pt idx="3614">
                  <c:v>40961</c:v>
                </c:pt>
                <c:pt idx="3615">
                  <c:v>40962</c:v>
                </c:pt>
                <c:pt idx="3616">
                  <c:v>40963</c:v>
                </c:pt>
                <c:pt idx="3617">
                  <c:v>40966</c:v>
                </c:pt>
                <c:pt idx="3618">
                  <c:v>40967</c:v>
                </c:pt>
                <c:pt idx="3619">
                  <c:v>40968</c:v>
                </c:pt>
                <c:pt idx="3620">
                  <c:v>40969</c:v>
                </c:pt>
                <c:pt idx="3621">
                  <c:v>40970</c:v>
                </c:pt>
                <c:pt idx="3622">
                  <c:v>40973</c:v>
                </c:pt>
                <c:pt idx="3623">
                  <c:v>40974</c:v>
                </c:pt>
                <c:pt idx="3624">
                  <c:v>40975</c:v>
                </c:pt>
                <c:pt idx="3625">
                  <c:v>40976</c:v>
                </c:pt>
                <c:pt idx="3626">
                  <c:v>40977</c:v>
                </c:pt>
                <c:pt idx="3627">
                  <c:v>40980</c:v>
                </c:pt>
                <c:pt idx="3628">
                  <c:v>40981</c:v>
                </c:pt>
                <c:pt idx="3629">
                  <c:v>40982</c:v>
                </c:pt>
                <c:pt idx="3630">
                  <c:v>40983</c:v>
                </c:pt>
                <c:pt idx="3631">
                  <c:v>40984</c:v>
                </c:pt>
                <c:pt idx="3632">
                  <c:v>40987</c:v>
                </c:pt>
                <c:pt idx="3633">
                  <c:v>40988</c:v>
                </c:pt>
                <c:pt idx="3634">
                  <c:v>40989</c:v>
                </c:pt>
                <c:pt idx="3635">
                  <c:v>40990</c:v>
                </c:pt>
                <c:pt idx="3636">
                  <c:v>40991</c:v>
                </c:pt>
                <c:pt idx="3637">
                  <c:v>40994</c:v>
                </c:pt>
                <c:pt idx="3638">
                  <c:v>40995</c:v>
                </c:pt>
                <c:pt idx="3639">
                  <c:v>40996</c:v>
                </c:pt>
                <c:pt idx="3640">
                  <c:v>40997</c:v>
                </c:pt>
                <c:pt idx="3641">
                  <c:v>40998</c:v>
                </c:pt>
                <c:pt idx="3642">
                  <c:v>41001</c:v>
                </c:pt>
                <c:pt idx="3643">
                  <c:v>41002</c:v>
                </c:pt>
                <c:pt idx="3644">
                  <c:v>41003</c:v>
                </c:pt>
                <c:pt idx="3645">
                  <c:v>41004</c:v>
                </c:pt>
                <c:pt idx="3646">
                  <c:v>41008</c:v>
                </c:pt>
                <c:pt idx="3647">
                  <c:v>41009</c:v>
                </c:pt>
                <c:pt idx="3648">
                  <c:v>41010</c:v>
                </c:pt>
                <c:pt idx="3649">
                  <c:v>41011</c:v>
                </c:pt>
                <c:pt idx="3650">
                  <c:v>41012</c:v>
                </c:pt>
                <c:pt idx="3651">
                  <c:v>41015</c:v>
                </c:pt>
                <c:pt idx="3652">
                  <c:v>41016</c:v>
                </c:pt>
                <c:pt idx="3653">
                  <c:v>41017</c:v>
                </c:pt>
                <c:pt idx="3654">
                  <c:v>41018</c:v>
                </c:pt>
                <c:pt idx="3655">
                  <c:v>41019</c:v>
                </c:pt>
                <c:pt idx="3656">
                  <c:v>41022</c:v>
                </c:pt>
                <c:pt idx="3657">
                  <c:v>41023</c:v>
                </c:pt>
                <c:pt idx="3658">
                  <c:v>41024</c:v>
                </c:pt>
                <c:pt idx="3659">
                  <c:v>41025</c:v>
                </c:pt>
                <c:pt idx="3660">
                  <c:v>41026</c:v>
                </c:pt>
                <c:pt idx="3661">
                  <c:v>41029</c:v>
                </c:pt>
                <c:pt idx="3662">
                  <c:v>41030</c:v>
                </c:pt>
                <c:pt idx="3663">
                  <c:v>41031</c:v>
                </c:pt>
                <c:pt idx="3664">
                  <c:v>41032</c:v>
                </c:pt>
                <c:pt idx="3665">
                  <c:v>41033</c:v>
                </c:pt>
                <c:pt idx="3666">
                  <c:v>41036</c:v>
                </c:pt>
                <c:pt idx="3667">
                  <c:v>41037</c:v>
                </c:pt>
                <c:pt idx="3668">
                  <c:v>41038</c:v>
                </c:pt>
                <c:pt idx="3669">
                  <c:v>41039</c:v>
                </c:pt>
                <c:pt idx="3670">
                  <c:v>41040</c:v>
                </c:pt>
                <c:pt idx="3671">
                  <c:v>41043</c:v>
                </c:pt>
                <c:pt idx="3672">
                  <c:v>41044</c:v>
                </c:pt>
                <c:pt idx="3673">
                  <c:v>41045</c:v>
                </c:pt>
                <c:pt idx="3674">
                  <c:v>41046</c:v>
                </c:pt>
                <c:pt idx="3675">
                  <c:v>41047</c:v>
                </c:pt>
                <c:pt idx="3676">
                  <c:v>41050</c:v>
                </c:pt>
                <c:pt idx="3677">
                  <c:v>41051</c:v>
                </c:pt>
                <c:pt idx="3678">
                  <c:v>41052</c:v>
                </c:pt>
                <c:pt idx="3679">
                  <c:v>41053</c:v>
                </c:pt>
                <c:pt idx="3680">
                  <c:v>41054</c:v>
                </c:pt>
                <c:pt idx="3681">
                  <c:v>41058</c:v>
                </c:pt>
                <c:pt idx="3682">
                  <c:v>41059</c:v>
                </c:pt>
                <c:pt idx="3683">
                  <c:v>41060</c:v>
                </c:pt>
                <c:pt idx="3684">
                  <c:v>41061</c:v>
                </c:pt>
                <c:pt idx="3685">
                  <c:v>41064</c:v>
                </c:pt>
                <c:pt idx="3686">
                  <c:v>41065</c:v>
                </c:pt>
                <c:pt idx="3687">
                  <c:v>41066</c:v>
                </c:pt>
                <c:pt idx="3688">
                  <c:v>41067</c:v>
                </c:pt>
                <c:pt idx="3689">
                  <c:v>41068</c:v>
                </c:pt>
                <c:pt idx="3690">
                  <c:v>41071</c:v>
                </c:pt>
                <c:pt idx="3691">
                  <c:v>41072</c:v>
                </c:pt>
                <c:pt idx="3692">
                  <c:v>41073</c:v>
                </c:pt>
                <c:pt idx="3693">
                  <c:v>41074</c:v>
                </c:pt>
                <c:pt idx="3694">
                  <c:v>41075</c:v>
                </c:pt>
                <c:pt idx="3695">
                  <c:v>41078</c:v>
                </c:pt>
                <c:pt idx="3696">
                  <c:v>41079</c:v>
                </c:pt>
                <c:pt idx="3697">
                  <c:v>41080</c:v>
                </c:pt>
                <c:pt idx="3698">
                  <c:v>41081</c:v>
                </c:pt>
                <c:pt idx="3699">
                  <c:v>41082</c:v>
                </c:pt>
                <c:pt idx="3700">
                  <c:v>41085</c:v>
                </c:pt>
                <c:pt idx="3701">
                  <c:v>41086</c:v>
                </c:pt>
                <c:pt idx="3702">
                  <c:v>41087</c:v>
                </c:pt>
                <c:pt idx="3703">
                  <c:v>41088</c:v>
                </c:pt>
                <c:pt idx="3704">
                  <c:v>41089</c:v>
                </c:pt>
                <c:pt idx="3705">
                  <c:v>41092</c:v>
                </c:pt>
                <c:pt idx="3706">
                  <c:v>41093</c:v>
                </c:pt>
                <c:pt idx="3707">
                  <c:v>41095</c:v>
                </c:pt>
                <c:pt idx="3708">
                  <c:v>41096</c:v>
                </c:pt>
                <c:pt idx="3709">
                  <c:v>41099</c:v>
                </c:pt>
                <c:pt idx="3710">
                  <c:v>41100</c:v>
                </c:pt>
                <c:pt idx="3711">
                  <c:v>41101</c:v>
                </c:pt>
                <c:pt idx="3712">
                  <c:v>41102</c:v>
                </c:pt>
                <c:pt idx="3713">
                  <c:v>41103</c:v>
                </c:pt>
                <c:pt idx="3714">
                  <c:v>41106</c:v>
                </c:pt>
                <c:pt idx="3715">
                  <c:v>41107</c:v>
                </c:pt>
                <c:pt idx="3716">
                  <c:v>41108</c:v>
                </c:pt>
                <c:pt idx="3717">
                  <c:v>41109</c:v>
                </c:pt>
                <c:pt idx="3718">
                  <c:v>41110</c:v>
                </c:pt>
                <c:pt idx="3719">
                  <c:v>41113</c:v>
                </c:pt>
                <c:pt idx="3720">
                  <c:v>41114</c:v>
                </c:pt>
                <c:pt idx="3721">
                  <c:v>41115</c:v>
                </c:pt>
                <c:pt idx="3722">
                  <c:v>41116</c:v>
                </c:pt>
                <c:pt idx="3723">
                  <c:v>41117</c:v>
                </c:pt>
                <c:pt idx="3724">
                  <c:v>41120</c:v>
                </c:pt>
                <c:pt idx="3725">
                  <c:v>41121</c:v>
                </c:pt>
                <c:pt idx="3726">
                  <c:v>41122</c:v>
                </c:pt>
                <c:pt idx="3727">
                  <c:v>41123</c:v>
                </c:pt>
                <c:pt idx="3728">
                  <c:v>41124</c:v>
                </c:pt>
                <c:pt idx="3729">
                  <c:v>41127</c:v>
                </c:pt>
                <c:pt idx="3730">
                  <c:v>41128</c:v>
                </c:pt>
                <c:pt idx="3731">
                  <c:v>41129</c:v>
                </c:pt>
                <c:pt idx="3732">
                  <c:v>41130</c:v>
                </c:pt>
                <c:pt idx="3733">
                  <c:v>41131</c:v>
                </c:pt>
                <c:pt idx="3734">
                  <c:v>41134</c:v>
                </c:pt>
                <c:pt idx="3735">
                  <c:v>41135</c:v>
                </c:pt>
                <c:pt idx="3736">
                  <c:v>41136</c:v>
                </c:pt>
                <c:pt idx="3737">
                  <c:v>41137</c:v>
                </c:pt>
                <c:pt idx="3738">
                  <c:v>41138</c:v>
                </c:pt>
                <c:pt idx="3739">
                  <c:v>41141</c:v>
                </c:pt>
                <c:pt idx="3740">
                  <c:v>41142</c:v>
                </c:pt>
                <c:pt idx="3741">
                  <c:v>41143</c:v>
                </c:pt>
                <c:pt idx="3742">
                  <c:v>41144</c:v>
                </c:pt>
                <c:pt idx="3743">
                  <c:v>41145</c:v>
                </c:pt>
                <c:pt idx="3744">
                  <c:v>41148</c:v>
                </c:pt>
                <c:pt idx="3745">
                  <c:v>41149</c:v>
                </c:pt>
                <c:pt idx="3746">
                  <c:v>41150</c:v>
                </c:pt>
                <c:pt idx="3747">
                  <c:v>41151</c:v>
                </c:pt>
                <c:pt idx="3748">
                  <c:v>41152</c:v>
                </c:pt>
                <c:pt idx="3749">
                  <c:v>41156</c:v>
                </c:pt>
                <c:pt idx="3750">
                  <c:v>41157</c:v>
                </c:pt>
                <c:pt idx="3751">
                  <c:v>41158</c:v>
                </c:pt>
                <c:pt idx="3752">
                  <c:v>41159</c:v>
                </c:pt>
                <c:pt idx="3753">
                  <c:v>41162</c:v>
                </c:pt>
                <c:pt idx="3754">
                  <c:v>41163</c:v>
                </c:pt>
                <c:pt idx="3755">
                  <c:v>41164</c:v>
                </c:pt>
                <c:pt idx="3756">
                  <c:v>41165</c:v>
                </c:pt>
                <c:pt idx="3757">
                  <c:v>41166</c:v>
                </c:pt>
                <c:pt idx="3758">
                  <c:v>41169</c:v>
                </c:pt>
                <c:pt idx="3759">
                  <c:v>41170</c:v>
                </c:pt>
                <c:pt idx="3760">
                  <c:v>41171</c:v>
                </c:pt>
                <c:pt idx="3761">
                  <c:v>41172</c:v>
                </c:pt>
                <c:pt idx="3762">
                  <c:v>41173</c:v>
                </c:pt>
                <c:pt idx="3763">
                  <c:v>41176</c:v>
                </c:pt>
                <c:pt idx="3764">
                  <c:v>41177</c:v>
                </c:pt>
                <c:pt idx="3765">
                  <c:v>41178</c:v>
                </c:pt>
                <c:pt idx="3766">
                  <c:v>41179</c:v>
                </c:pt>
                <c:pt idx="3767">
                  <c:v>41180</c:v>
                </c:pt>
                <c:pt idx="3768">
                  <c:v>41183</c:v>
                </c:pt>
                <c:pt idx="3769">
                  <c:v>41184</c:v>
                </c:pt>
                <c:pt idx="3770">
                  <c:v>41185</c:v>
                </c:pt>
                <c:pt idx="3771">
                  <c:v>41186</c:v>
                </c:pt>
                <c:pt idx="3772">
                  <c:v>41187</c:v>
                </c:pt>
                <c:pt idx="3773">
                  <c:v>41190</c:v>
                </c:pt>
                <c:pt idx="3774">
                  <c:v>41191</c:v>
                </c:pt>
                <c:pt idx="3775">
                  <c:v>41192</c:v>
                </c:pt>
                <c:pt idx="3776">
                  <c:v>41193</c:v>
                </c:pt>
                <c:pt idx="3777">
                  <c:v>41194</c:v>
                </c:pt>
                <c:pt idx="3778">
                  <c:v>41197</c:v>
                </c:pt>
                <c:pt idx="3779">
                  <c:v>41198</c:v>
                </c:pt>
                <c:pt idx="3780">
                  <c:v>41199</c:v>
                </c:pt>
                <c:pt idx="3781">
                  <c:v>41200</c:v>
                </c:pt>
                <c:pt idx="3782">
                  <c:v>41201</c:v>
                </c:pt>
                <c:pt idx="3783">
                  <c:v>41204</c:v>
                </c:pt>
                <c:pt idx="3784">
                  <c:v>41205</c:v>
                </c:pt>
                <c:pt idx="3785">
                  <c:v>41206</c:v>
                </c:pt>
                <c:pt idx="3786">
                  <c:v>41207</c:v>
                </c:pt>
                <c:pt idx="3787">
                  <c:v>41208</c:v>
                </c:pt>
                <c:pt idx="3788">
                  <c:v>41211</c:v>
                </c:pt>
                <c:pt idx="3789">
                  <c:v>41212</c:v>
                </c:pt>
                <c:pt idx="3790">
                  <c:v>41213</c:v>
                </c:pt>
                <c:pt idx="3791">
                  <c:v>41214</c:v>
                </c:pt>
                <c:pt idx="3792">
                  <c:v>41215</c:v>
                </c:pt>
                <c:pt idx="3793">
                  <c:v>41218</c:v>
                </c:pt>
                <c:pt idx="3794">
                  <c:v>41219</c:v>
                </c:pt>
                <c:pt idx="3795">
                  <c:v>41220</c:v>
                </c:pt>
                <c:pt idx="3796">
                  <c:v>41221</c:v>
                </c:pt>
                <c:pt idx="3797">
                  <c:v>41222</c:v>
                </c:pt>
                <c:pt idx="3798">
                  <c:v>41225</c:v>
                </c:pt>
                <c:pt idx="3799">
                  <c:v>41226</c:v>
                </c:pt>
                <c:pt idx="3800">
                  <c:v>41227</c:v>
                </c:pt>
                <c:pt idx="3801">
                  <c:v>41228</c:v>
                </c:pt>
                <c:pt idx="3802">
                  <c:v>41229</c:v>
                </c:pt>
                <c:pt idx="3803">
                  <c:v>41232</c:v>
                </c:pt>
                <c:pt idx="3804">
                  <c:v>41233</c:v>
                </c:pt>
                <c:pt idx="3805">
                  <c:v>41234</c:v>
                </c:pt>
                <c:pt idx="3806">
                  <c:v>41236</c:v>
                </c:pt>
                <c:pt idx="3807">
                  <c:v>41239</c:v>
                </c:pt>
                <c:pt idx="3808">
                  <c:v>41240</c:v>
                </c:pt>
                <c:pt idx="3809">
                  <c:v>41241</c:v>
                </c:pt>
                <c:pt idx="3810">
                  <c:v>41242</c:v>
                </c:pt>
                <c:pt idx="3811">
                  <c:v>41243</c:v>
                </c:pt>
                <c:pt idx="3812">
                  <c:v>41246</c:v>
                </c:pt>
                <c:pt idx="3813">
                  <c:v>41247</c:v>
                </c:pt>
                <c:pt idx="3814">
                  <c:v>41248</c:v>
                </c:pt>
                <c:pt idx="3815">
                  <c:v>41249</c:v>
                </c:pt>
                <c:pt idx="3816">
                  <c:v>41250</c:v>
                </c:pt>
                <c:pt idx="3817">
                  <c:v>41253</c:v>
                </c:pt>
                <c:pt idx="3818">
                  <c:v>41254</c:v>
                </c:pt>
                <c:pt idx="3819">
                  <c:v>41255</c:v>
                </c:pt>
                <c:pt idx="3820">
                  <c:v>41256</c:v>
                </c:pt>
                <c:pt idx="3821">
                  <c:v>41257</c:v>
                </c:pt>
                <c:pt idx="3822">
                  <c:v>41260</c:v>
                </c:pt>
                <c:pt idx="3823">
                  <c:v>41261</c:v>
                </c:pt>
                <c:pt idx="3824">
                  <c:v>41262</c:v>
                </c:pt>
                <c:pt idx="3825">
                  <c:v>41263</c:v>
                </c:pt>
                <c:pt idx="3826">
                  <c:v>41264</c:v>
                </c:pt>
                <c:pt idx="3827">
                  <c:v>41267</c:v>
                </c:pt>
                <c:pt idx="3828">
                  <c:v>41269</c:v>
                </c:pt>
                <c:pt idx="3829">
                  <c:v>41270</c:v>
                </c:pt>
                <c:pt idx="3830">
                  <c:v>41271</c:v>
                </c:pt>
                <c:pt idx="3831">
                  <c:v>41274</c:v>
                </c:pt>
                <c:pt idx="3832">
                  <c:v>41276</c:v>
                </c:pt>
                <c:pt idx="3833">
                  <c:v>41277</c:v>
                </c:pt>
                <c:pt idx="3834">
                  <c:v>41278</c:v>
                </c:pt>
                <c:pt idx="3835">
                  <c:v>41281</c:v>
                </c:pt>
                <c:pt idx="3836">
                  <c:v>41282</c:v>
                </c:pt>
                <c:pt idx="3837">
                  <c:v>41283</c:v>
                </c:pt>
                <c:pt idx="3838">
                  <c:v>41284</c:v>
                </c:pt>
                <c:pt idx="3839">
                  <c:v>41285</c:v>
                </c:pt>
                <c:pt idx="3840">
                  <c:v>41288</c:v>
                </c:pt>
                <c:pt idx="3841">
                  <c:v>41289</c:v>
                </c:pt>
                <c:pt idx="3842">
                  <c:v>41290</c:v>
                </c:pt>
                <c:pt idx="3843">
                  <c:v>41291</c:v>
                </c:pt>
                <c:pt idx="3844">
                  <c:v>41292</c:v>
                </c:pt>
                <c:pt idx="3845">
                  <c:v>41296</c:v>
                </c:pt>
                <c:pt idx="3846">
                  <c:v>41297</c:v>
                </c:pt>
                <c:pt idx="3847">
                  <c:v>41298</c:v>
                </c:pt>
                <c:pt idx="3848">
                  <c:v>41299</c:v>
                </c:pt>
                <c:pt idx="3849">
                  <c:v>41302</c:v>
                </c:pt>
                <c:pt idx="3850">
                  <c:v>41303</c:v>
                </c:pt>
                <c:pt idx="3851">
                  <c:v>41304</c:v>
                </c:pt>
                <c:pt idx="3852">
                  <c:v>41305</c:v>
                </c:pt>
                <c:pt idx="3853">
                  <c:v>41306</c:v>
                </c:pt>
                <c:pt idx="3854">
                  <c:v>41309</c:v>
                </c:pt>
                <c:pt idx="3855">
                  <c:v>41310</c:v>
                </c:pt>
                <c:pt idx="3856">
                  <c:v>41311</c:v>
                </c:pt>
                <c:pt idx="3857">
                  <c:v>41312</c:v>
                </c:pt>
                <c:pt idx="3858">
                  <c:v>41313</c:v>
                </c:pt>
                <c:pt idx="3859">
                  <c:v>41316</c:v>
                </c:pt>
                <c:pt idx="3860">
                  <c:v>41317</c:v>
                </c:pt>
                <c:pt idx="3861">
                  <c:v>41318</c:v>
                </c:pt>
                <c:pt idx="3862">
                  <c:v>41319</c:v>
                </c:pt>
                <c:pt idx="3863">
                  <c:v>41320</c:v>
                </c:pt>
                <c:pt idx="3864">
                  <c:v>41324</c:v>
                </c:pt>
                <c:pt idx="3865">
                  <c:v>41325</c:v>
                </c:pt>
                <c:pt idx="3866">
                  <c:v>41326</c:v>
                </c:pt>
                <c:pt idx="3867">
                  <c:v>41327</c:v>
                </c:pt>
                <c:pt idx="3868">
                  <c:v>41330</c:v>
                </c:pt>
                <c:pt idx="3869">
                  <c:v>41331</c:v>
                </c:pt>
                <c:pt idx="3870">
                  <c:v>41332</c:v>
                </c:pt>
                <c:pt idx="3871">
                  <c:v>41333</c:v>
                </c:pt>
                <c:pt idx="3872">
                  <c:v>41334</c:v>
                </c:pt>
                <c:pt idx="3873">
                  <c:v>41337</c:v>
                </c:pt>
                <c:pt idx="3874">
                  <c:v>41338</c:v>
                </c:pt>
                <c:pt idx="3875">
                  <c:v>41339</c:v>
                </c:pt>
                <c:pt idx="3876">
                  <c:v>41340</c:v>
                </c:pt>
                <c:pt idx="3877">
                  <c:v>41341</c:v>
                </c:pt>
                <c:pt idx="3878">
                  <c:v>41344</c:v>
                </c:pt>
                <c:pt idx="3879">
                  <c:v>41345</c:v>
                </c:pt>
                <c:pt idx="3880">
                  <c:v>41346</c:v>
                </c:pt>
                <c:pt idx="3881">
                  <c:v>41347</c:v>
                </c:pt>
                <c:pt idx="3882">
                  <c:v>41348</c:v>
                </c:pt>
                <c:pt idx="3883">
                  <c:v>41351</c:v>
                </c:pt>
                <c:pt idx="3884">
                  <c:v>41352</c:v>
                </c:pt>
                <c:pt idx="3885">
                  <c:v>41353</c:v>
                </c:pt>
                <c:pt idx="3886">
                  <c:v>41354</c:v>
                </c:pt>
                <c:pt idx="3887">
                  <c:v>41355</c:v>
                </c:pt>
                <c:pt idx="3888">
                  <c:v>41358</c:v>
                </c:pt>
                <c:pt idx="3889">
                  <c:v>41359</c:v>
                </c:pt>
                <c:pt idx="3890">
                  <c:v>41360</c:v>
                </c:pt>
                <c:pt idx="3891">
                  <c:v>41361</c:v>
                </c:pt>
                <c:pt idx="3892">
                  <c:v>41365</c:v>
                </c:pt>
                <c:pt idx="3893">
                  <c:v>41366</c:v>
                </c:pt>
                <c:pt idx="3894">
                  <c:v>41367</c:v>
                </c:pt>
                <c:pt idx="3895">
                  <c:v>41368</c:v>
                </c:pt>
                <c:pt idx="3896">
                  <c:v>41369</c:v>
                </c:pt>
                <c:pt idx="3897">
                  <c:v>41372</c:v>
                </c:pt>
                <c:pt idx="3898">
                  <c:v>41373</c:v>
                </c:pt>
                <c:pt idx="3899">
                  <c:v>41374</c:v>
                </c:pt>
                <c:pt idx="3900">
                  <c:v>41375</c:v>
                </c:pt>
                <c:pt idx="3901">
                  <c:v>41376</c:v>
                </c:pt>
                <c:pt idx="3902">
                  <c:v>41379</c:v>
                </c:pt>
                <c:pt idx="3903">
                  <c:v>41380</c:v>
                </c:pt>
                <c:pt idx="3904">
                  <c:v>41381</c:v>
                </c:pt>
                <c:pt idx="3905">
                  <c:v>41382</c:v>
                </c:pt>
                <c:pt idx="3906">
                  <c:v>41383</c:v>
                </c:pt>
                <c:pt idx="3907">
                  <c:v>41386</c:v>
                </c:pt>
                <c:pt idx="3908">
                  <c:v>41387</c:v>
                </c:pt>
                <c:pt idx="3909">
                  <c:v>41388</c:v>
                </c:pt>
                <c:pt idx="3910">
                  <c:v>41389</c:v>
                </c:pt>
                <c:pt idx="3911">
                  <c:v>41390</c:v>
                </c:pt>
                <c:pt idx="3912">
                  <c:v>41393</c:v>
                </c:pt>
                <c:pt idx="3913">
                  <c:v>41394</c:v>
                </c:pt>
                <c:pt idx="3914">
                  <c:v>41395</c:v>
                </c:pt>
                <c:pt idx="3915">
                  <c:v>41396</c:v>
                </c:pt>
                <c:pt idx="3916">
                  <c:v>41397</c:v>
                </c:pt>
                <c:pt idx="3917">
                  <c:v>41400</c:v>
                </c:pt>
                <c:pt idx="3918">
                  <c:v>41401</c:v>
                </c:pt>
                <c:pt idx="3919">
                  <c:v>41402</c:v>
                </c:pt>
                <c:pt idx="3920">
                  <c:v>41403</c:v>
                </c:pt>
                <c:pt idx="3921">
                  <c:v>41404</c:v>
                </c:pt>
                <c:pt idx="3922">
                  <c:v>41407</c:v>
                </c:pt>
                <c:pt idx="3923">
                  <c:v>41408</c:v>
                </c:pt>
                <c:pt idx="3924">
                  <c:v>41409</c:v>
                </c:pt>
                <c:pt idx="3925">
                  <c:v>41410</c:v>
                </c:pt>
                <c:pt idx="3926">
                  <c:v>41411</c:v>
                </c:pt>
                <c:pt idx="3927">
                  <c:v>41414</c:v>
                </c:pt>
                <c:pt idx="3928">
                  <c:v>41415</c:v>
                </c:pt>
                <c:pt idx="3929">
                  <c:v>41416</c:v>
                </c:pt>
                <c:pt idx="3930">
                  <c:v>41417</c:v>
                </c:pt>
                <c:pt idx="3931">
                  <c:v>41418</c:v>
                </c:pt>
                <c:pt idx="3932">
                  <c:v>41422</c:v>
                </c:pt>
                <c:pt idx="3933">
                  <c:v>41423</c:v>
                </c:pt>
                <c:pt idx="3934">
                  <c:v>41424</c:v>
                </c:pt>
                <c:pt idx="3935">
                  <c:v>41425</c:v>
                </c:pt>
                <c:pt idx="3936">
                  <c:v>41428</c:v>
                </c:pt>
                <c:pt idx="3937">
                  <c:v>41429</c:v>
                </c:pt>
                <c:pt idx="3938">
                  <c:v>41430</c:v>
                </c:pt>
                <c:pt idx="3939">
                  <c:v>41431</c:v>
                </c:pt>
                <c:pt idx="3940">
                  <c:v>41432</c:v>
                </c:pt>
                <c:pt idx="3941">
                  <c:v>41435</c:v>
                </c:pt>
                <c:pt idx="3942">
                  <c:v>41436</c:v>
                </c:pt>
                <c:pt idx="3943">
                  <c:v>41437</c:v>
                </c:pt>
                <c:pt idx="3944">
                  <c:v>41438</c:v>
                </c:pt>
                <c:pt idx="3945">
                  <c:v>41439</c:v>
                </c:pt>
                <c:pt idx="3946">
                  <c:v>41442</c:v>
                </c:pt>
                <c:pt idx="3947">
                  <c:v>41443</c:v>
                </c:pt>
                <c:pt idx="3948">
                  <c:v>41444</c:v>
                </c:pt>
                <c:pt idx="3949">
                  <c:v>41445</c:v>
                </c:pt>
                <c:pt idx="3950">
                  <c:v>41446</c:v>
                </c:pt>
                <c:pt idx="3951">
                  <c:v>41449</c:v>
                </c:pt>
                <c:pt idx="3952">
                  <c:v>41450</c:v>
                </c:pt>
                <c:pt idx="3953">
                  <c:v>41451</c:v>
                </c:pt>
                <c:pt idx="3954">
                  <c:v>41452</c:v>
                </c:pt>
                <c:pt idx="3955">
                  <c:v>41453</c:v>
                </c:pt>
                <c:pt idx="3956">
                  <c:v>41456</c:v>
                </c:pt>
                <c:pt idx="3957">
                  <c:v>41457</c:v>
                </c:pt>
                <c:pt idx="3958">
                  <c:v>41458</c:v>
                </c:pt>
                <c:pt idx="3959">
                  <c:v>41460</c:v>
                </c:pt>
                <c:pt idx="3960">
                  <c:v>41463</c:v>
                </c:pt>
                <c:pt idx="3961">
                  <c:v>41464</c:v>
                </c:pt>
                <c:pt idx="3962">
                  <c:v>41465</c:v>
                </c:pt>
                <c:pt idx="3963">
                  <c:v>41466</c:v>
                </c:pt>
                <c:pt idx="3964">
                  <c:v>41467</c:v>
                </c:pt>
                <c:pt idx="3965">
                  <c:v>41470</c:v>
                </c:pt>
                <c:pt idx="3966">
                  <c:v>41471</c:v>
                </c:pt>
                <c:pt idx="3967">
                  <c:v>41472</c:v>
                </c:pt>
                <c:pt idx="3968">
                  <c:v>41473</c:v>
                </c:pt>
                <c:pt idx="3969">
                  <c:v>41474</c:v>
                </c:pt>
                <c:pt idx="3970">
                  <c:v>41477</c:v>
                </c:pt>
                <c:pt idx="3971">
                  <c:v>41478</c:v>
                </c:pt>
                <c:pt idx="3972">
                  <c:v>41479</c:v>
                </c:pt>
                <c:pt idx="3973">
                  <c:v>41480</c:v>
                </c:pt>
                <c:pt idx="3974">
                  <c:v>41481</c:v>
                </c:pt>
                <c:pt idx="3975">
                  <c:v>41484</c:v>
                </c:pt>
                <c:pt idx="3976">
                  <c:v>41485</c:v>
                </c:pt>
                <c:pt idx="3977">
                  <c:v>41486</c:v>
                </c:pt>
                <c:pt idx="3978">
                  <c:v>41487</c:v>
                </c:pt>
                <c:pt idx="3979">
                  <c:v>41488</c:v>
                </c:pt>
                <c:pt idx="3980">
                  <c:v>41491</c:v>
                </c:pt>
                <c:pt idx="3981">
                  <c:v>41492</c:v>
                </c:pt>
                <c:pt idx="3982">
                  <c:v>41493</c:v>
                </c:pt>
                <c:pt idx="3983">
                  <c:v>41494</c:v>
                </c:pt>
                <c:pt idx="3984">
                  <c:v>41495</c:v>
                </c:pt>
                <c:pt idx="3985">
                  <c:v>41498</c:v>
                </c:pt>
                <c:pt idx="3986">
                  <c:v>41499</c:v>
                </c:pt>
                <c:pt idx="3987">
                  <c:v>41500</c:v>
                </c:pt>
                <c:pt idx="3988">
                  <c:v>41501</c:v>
                </c:pt>
                <c:pt idx="3989">
                  <c:v>41502</c:v>
                </c:pt>
                <c:pt idx="3990">
                  <c:v>41505</c:v>
                </c:pt>
                <c:pt idx="3991">
                  <c:v>41506</c:v>
                </c:pt>
                <c:pt idx="3992">
                  <c:v>41507</c:v>
                </c:pt>
                <c:pt idx="3993">
                  <c:v>41508</c:v>
                </c:pt>
                <c:pt idx="3994">
                  <c:v>41509</c:v>
                </c:pt>
                <c:pt idx="3995">
                  <c:v>41512</c:v>
                </c:pt>
                <c:pt idx="3996">
                  <c:v>41513</c:v>
                </c:pt>
                <c:pt idx="3997">
                  <c:v>41514</c:v>
                </c:pt>
                <c:pt idx="3998">
                  <c:v>41515</c:v>
                </c:pt>
                <c:pt idx="3999">
                  <c:v>41516</c:v>
                </c:pt>
                <c:pt idx="4000">
                  <c:v>41520</c:v>
                </c:pt>
                <c:pt idx="4001">
                  <c:v>41521</c:v>
                </c:pt>
                <c:pt idx="4002">
                  <c:v>41522</c:v>
                </c:pt>
                <c:pt idx="4003">
                  <c:v>41523</c:v>
                </c:pt>
                <c:pt idx="4004">
                  <c:v>41526</c:v>
                </c:pt>
                <c:pt idx="4005">
                  <c:v>41527</c:v>
                </c:pt>
                <c:pt idx="4006">
                  <c:v>41528</c:v>
                </c:pt>
                <c:pt idx="4007">
                  <c:v>41529</c:v>
                </c:pt>
                <c:pt idx="4008">
                  <c:v>41530</c:v>
                </c:pt>
                <c:pt idx="4009">
                  <c:v>41533</c:v>
                </c:pt>
                <c:pt idx="4010">
                  <c:v>41534</c:v>
                </c:pt>
                <c:pt idx="4011">
                  <c:v>41535</c:v>
                </c:pt>
                <c:pt idx="4012">
                  <c:v>41536</c:v>
                </c:pt>
                <c:pt idx="4013">
                  <c:v>41537</c:v>
                </c:pt>
                <c:pt idx="4014">
                  <c:v>41540</c:v>
                </c:pt>
                <c:pt idx="4015">
                  <c:v>41541</c:v>
                </c:pt>
                <c:pt idx="4016">
                  <c:v>41542</c:v>
                </c:pt>
                <c:pt idx="4017">
                  <c:v>41543</c:v>
                </c:pt>
                <c:pt idx="4018">
                  <c:v>41544</c:v>
                </c:pt>
                <c:pt idx="4019">
                  <c:v>41547</c:v>
                </c:pt>
                <c:pt idx="4020">
                  <c:v>41548</c:v>
                </c:pt>
                <c:pt idx="4021">
                  <c:v>41549</c:v>
                </c:pt>
                <c:pt idx="4022">
                  <c:v>41550</c:v>
                </c:pt>
                <c:pt idx="4023">
                  <c:v>41551</c:v>
                </c:pt>
                <c:pt idx="4024">
                  <c:v>41554</c:v>
                </c:pt>
                <c:pt idx="4025">
                  <c:v>41555</c:v>
                </c:pt>
                <c:pt idx="4026">
                  <c:v>41556</c:v>
                </c:pt>
                <c:pt idx="4027">
                  <c:v>41557</c:v>
                </c:pt>
                <c:pt idx="4028">
                  <c:v>41558</c:v>
                </c:pt>
                <c:pt idx="4029">
                  <c:v>41561</c:v>
                </c:pt>
                <c:pt idx="4030">
                  <c:v>41562</c:v>
                </c:pt>
                <c:pt idx="4031">
                  <c:v>41563</c:v>
                </c:pt>
                <c:pt idx="4032">
                  <c:v>41564</c:v>
                </c:pt>
                <c:pt idx="4033">
                  <c:v>41565</c:v>
                </c:pt>
                <c:pt idx="4034">
                  <c:v>41568</c:v>
                </c:pt>
                <c:pt idx="4035">
                  <c:v>41569</c:v>
                </c:pt>
                <c:pt idx="4036">
                  <c:v>41570</c:v>
                </c:pt>
                <c:pt idx="4037">
                  <c:v>41571</c:v>
                </c:pt>
                <c:pt idx="4038">
                  <c:v>41572</c:v>
                </c:pt>
                <c:pt idx="4039">
                  <c:v>41575</c:v>
                </c:pt>
                <c:pt idx="4040">
                  <c:v>41576</c:v>
                </c:pt>
                <c:pt idx="4041">
                  <c:v>41577</c:v>
                </c:pt>
                <c:pt idx="4042">
                  <c:v>41578</c:v>
                </c:pt>
                <c:pt idx="4043">
                  <c:v>41579</c:v>
                </c:pt>
                <c:pt idx="4044">
                  <c:v>41582</c:v>
                </c:pt>
                <c:pt idx="4045">
                  <c:v>41583</c:v>
                </c:pt>
                <c:pt idx="4046">
                  <c:v>41584</c:v>
                </c:pt>
                <c:pt idx="4047">
                  <c:v>41585</c:v>
                </c:pt>
                <c:pt idx="4048">
                  <c:v>41586</c:v>
                </c:pt>
                <c:pt idx="4049">
                  <c:v>41589</c:v>
                </c:pt>
                <c:pt idx="4050">
                  <c:v>41590</c:v>
                </c:pt>
                <c:pt idx="4051">
                  <c:v>41591</c:v>
                </c:pt>
                <c:pt idx="4052">
                  <c:v>41592</c:v>
                </c:pt>
                <c:pt idx="4053">
                  <c:v>41593</c:v>
                </c:pt>
                <c:pt idx="4054">
                  <c:v>41596</c:v>
                </c:pt>
                <c:pt idx="4055">
                  <c:v>41597</c:v>
                </c:pt>
                <c:pt idx="4056">
                  <c:v>41598</c:v>
                </c:pt>
                <c:pt idx="4057">
                  <c:v>41599</c:v>
                </c:pt>
                <c:pt idx="4058">
                  <c:v>41600</c:v>
                </c:pt>
                <c:pt idx="4059">
                  <c:v>41603</c:v>
                </c:pt>
                <c:pt idx="4060">
                  <c:v>41604</c:v>
                </c:pt>
                <c:pt idx="4061">
                  <c:v>41605</c:v>
                </c:pt>
                <c:pt idx="4062">
                  <c:v>41607</c:v>
                </c:pt>
                <c:pt idx="4063">
                  <c:v>41610</c:v>
                </c:pt>
                <c:pt idx="4064">
                  <c:v>41611</c:v>
                </c:pt>
                <c:pt idx="4065">
                  <c:v>41612</c:v>
                </c:pt>
                <c:pt idx="4066">
                  <c:v>41613</c:v>
                </c:pt>
                <c:pt idx="4067">
                  <c:v>41614</c:v>
                </c:pt>
                <c:pt idx="4068">
                  <c:v>41617</c:v>
                </c:pt>
                <c:pt idx="4069">
                  <c:v>41618</c:v>
                </c:pt>
                <c:pt idx="4070">
                  <c:v>41619</c:v>
                </c:pt>
                <c:pt idx="4071">
                  <c:v>41620</c:v>
                </c:pt>
                <c:pt idx="4072">
                  <c:v>41621</c:v>
                </c:pt>
                <c:pt idx="4073">
                  <c:v>41624</c:v>
                </c:pt>
                <c:pt idx="4074">
                  <c:v>41625</c:v>
                </c:pt>
                <c:pt idx="4075">
                  <c:v>41626</c:v>
                </c:pt>
                <c:pt idx="4076">
                  <c:v>41627</c:v>
                </c:pt>
                <c:pt idx="4077">
                  <c:v>41628</c:v>
                </c:pt>
                <c:pt idx="4078">
                  <c:v>41631</c:v>
                </c:pt>
                <c:pt idx="4079">
                  <c:v>41632</c:v>
                </c:pt>
                <c:pt idx="4080">
                  <c:v>41634</c:v>
                </c:pt>
                <c:pt idx="4081">
                  <c:v>41635</c:v>
                </c:pt>
                <c:pt idx="4082">
                  <c:v>41638</c:v>
                </c:pt>
                <c:pt idx="4083">
                  <c:v>41639</c:v>
                </c:pt>
                <c:pt idx="4084">
                  <c:v>41641</c:v>
                </c:pt>
                <c:pt idx="4085">
                  <c:v>41642</c:v>
                </c:pt>
                <c:pt idx="4086">
                  <c:v>41645</c:v>
                </c:pt>
                <c:pt idx="4087">
                  <c:v>41646</c:v>
                </c:pt>
                <c:pt idx="4088">
                  <c:v>41647</c:v>
                </c:pt>
                <c:pt idx="4089">
                  <c:v>41648</c:v>
                </c:pt>
                <c:pt idx="4090">
                  <c:v>41649</c:v>
                </c:pt>
                <c:pt idx="4091">
                  <c:v>41652</c:v>
                </c:pt>
                <c:pt idx="4092">
                  <c:v>41653</c:v>
                </c:pt>
                <c:pt idx="4093">
                  <c:v>41654</c:v>
                </c:pt>
                <c:pt idx="4094">
                  <c:v>41655</c:v>
                </c:pt>
                <c:pt idx="4095">
                  <c:v>41656</c:v>
                </c:pt>
                <c:pt idx="4096">
                  <c:v>41659</c:v>
                </c:pt>
                <c:pt idx="4097">
                  <c:v>41660</c:v>
                </c:pt>
                <c:pt idx="4098">
                  <c:v>41661</c:v>
                </c:pt>
                <c:pt idx="4099">
                  <c:v>41662</c:v>
                </c:pt>
                <c:pt idx="4100">
                  <c:v>41663</c:v>
                </c:pt>
                <c:pt idx="4101">
                  <c:v>41666</c:v>
                </c:pt>
                <c:pt idx="4102">
                  <c:v>41667</c:v>
                </c:pt>
                <c:pt idx="4103">
                  <c:v>41668</c:v>
                </c:pt>
                <c:pt idx="4104">
                  <c:v>41669</c:v>
                </c:pt>
                <c:pt idx="4105">
                  <c:v>41670</c:v>
                </c:pt>
                <c:pt idx="4106">
                  <c:v>41673</c:v>
                </c:pt>
                <c:pt idx="4107">
                  <c:v>41674</c:v>
                </c:pt>
                <c:pt idx="4108">
                  <c:v>41675</c:v>
                </c:pt>
                <c:pt idx="4109">
                  <c:v>41676</c:v>
                </c:pt>
                <c:pt idx="4110">
                  <c:v>41677</c:v>
                </c:pt>
                <c:pt idx="4111">
                  <c:v>41680</c:v>
                </c:pt>
                <c:pt idx="4112">
                  <c:v>41681</c:v>
                </c:pt>
                <c:pt idx="4113">
                  <c:v>41682</c:v>
                </c:pt>
                <c:pt idx="4114">
                  <c:v>41683</c:v>
                </c:pt>
                <c:pt idx="4115">
                  <c:v>41684</c:v>
                </c:pt>
                <c:pt idx="4116">
                  <c:v>41688</c:v>
                </c:pt>
                <c:pt idx="4117">
                  <c:v>41689</c:v>
                </c:pt>
                <c:pt idx="4118">
                  <c:v>41690</c:v>
                </c:pt>
                <c:pt idx="4119">
                  <c:v>41691</c:v>
                </c:pt>
                <c:pt idx="4120">
                  <c:v>41694</c:v>
                </c:pt>
                <c:pt idx="4121">
                  <c:v>41695</c:v>
                </c:pt>
                <c:pt idx="4122">
                  <c:v>41696</c:v>
                </c:pt>
                <c:pt idx="4123">
                  <c:v>41697</c:v>
                </c:pt>
                <c:pt idx="4124">
                  <c:v>41698</c:v>
                </c:pt>
                <c:pt idx="4125">
                  <c:v>41701</c:v>
                </c:pt>
                <c:pt idx="4126">
                  <c:v>41702</c:v>
                </c:pt>
                <c:pt idx="4127">
                  <c:v>41703</c:v>
                </c:pt>
                <c:pt idx="4128">
                  <c:v>41704</c:v>
                </c:pt>
                <c:pt idx="4129">
                  <c:v>41705</c:v>
                </c:pt>
                <c:pt idx="4130">
                  <c:v>41708</c:v>
                </c:pt>
                <c:pt idx="4131">
                  <c:v>41709</c:v>
                </c:pt>
                <c:pt idx="4132">
                  <c:v>41710</c:v>
                </c:pt>
                <c:pt idx="4133">
                  <c:v>41711</c:v>
                </c:pt>
                <c:pt idx="4134">
                  <c:v>41712</c:v>
                </c:pt>
                <c:pt idx="4135">
                  <c:v>41715</c:v>
                </c:pt>
                <c:pt idx="4136">
                  <c:v>41716</c:v>
                </c:pt>
                <c:pt idx="4137">
                  <c:v>41717</c:v>
                </c:pt>
                <c:pt idx="4138">
                  <c:v>41718</c:v>
                </c:pt>
                <c:pt idx="4139">
                  <c:v>41719</c:v>
                </c:pt>
                <c:pt idx="4140">
                  <c:v>41722</c:v>
                </c:pt>
                <c:pt idx="4141">
                  <c:v>41723</c:v>
                </c:pt>
                <c:pt idx="4142">
                  <c:v>41724</c:v>
                </c:pt>
                <c:pt idx="4143">
                  <c:v>41725</c:v>
                </c:pt>
                <c:pt idx="4144">
                  <c:v>41726</c:v>
                </c:pt>
                <c:pt idx="4145">
                  <c:v>41729</c:v>
                </c:pt>
                <c:pt idx="4146">
                  <c:v>41730</c:v>
                </c:pt>
                <c:pt idx="4147">
                  <c:v>41731</c:v>
                </c:pt>
                <c:pt idx="4148">
                  <c:v>41732</c:v>
                </c:pt>
                <c:pt idx="4149">
                  <c:v>41733</c:v>
                </c:pt>
                <c:pt idx="4150">
                  <c:v>41736</c:v>
                </c:pt>
                <c:pt idx="4151">
                  <c:v>41737</c:v>
                </c:pt>
                <c:pt idx="4152">
                  <c:v>41738</c:v>
                </c:pt>
                <c:pt idx="4153">
                  <c:v>41739</c:v>
                </c:pt>
                <c:pt idx="4154">
                  <c:v>41740</c:v>
                </c:pt>
                <c:pt idx="4155">
                  <c:v>41743</c:v>
                </c:pt>
                <c:pt idx="4156">
                  <c:v>41744</c:v>
                </c:pt>
                <c:pt idx="4157">
                  <c:v>41745</c:v>
                </c:pt>
                <c:pt idx="4158">
                  <c:v>41746</c:v>
                </c:pt>
                <c:pt idx="4159">
                  <c:v>41750</c:v>
                </c:pt>
                <c:pt idx="4160">
                  <c:v>41751</c:v>
                </c:pt>
                <c:pt idx="4161">
                  <c:v>41752</c:v>
                </c:pt>
                <c:pt idx="4162">
                  <c:v>41753</c:v>
                </c:pt>
                <c:pt idx="4163">
                  <c:v>41754</c:v>
                </c:pt>
                <c:pt idx="4164">
                  <c:v>41757</c:v>
                </c:pt>
                <c:pt idx="4165">
                  <c:v>41758</c:v>
                </c:pt>
                <c:pt idx="4166">
                  <c:v>41759</c:v>
                </c:pt>
                <c:pt idx="4167">
                  <c:v>41760</c:v>
                </c:pt>
                <c:pt idx="4168">
                  <c:v>41761</c:v>
                </c:pt>
                <c:pt idx="4169">
                  <c:v>41764</c:v>
                </c:pt>
                <c:pt idx="4170">
                  <c:v>41765</c:v>
                </c:pt>
                <c:pt idx="4171">
                  <c:v>41766</c:v>
                </c:pt>
                <c:pt idx="4172">
                  <c:v>41767</c:v>
                </c:pt>
                <c:pt idx="4173">
                  <c:v>41768</c:v>
                </c:pt>
                <c:pt idx="4174">
                  <c:v>41771</c:v>
                </c:pt>
                <c:pt idx="4175">
                  <c:v>41772</c:v>
                </c:pt>
                <c:pt idx="4176">
                  <c:v>41773</c:v>
                </c:pt>
                <c:pt idx="4177">
                  <c:v>41774</c:v>
                </c:pt>
                <c:pt idx="4178">
                  <c:v>41775</c:v>
                </c:pt>
                <c:pt idx="4179">
                  <c:v>41778</c:v>
                </c:pt>
                <c:pt idx="4180">
                  <c:v>41779</c:v>
                </c:pt>
                <c:pt idx="4181">
                  <c:v>41780</c:v>
                </c:pt>
                <c:pt idx="4182">
                  <c:v>41781</c:v>
                </c:pt>
                <c:pt idx="4183">
                  <c:v>41782</c:v>
                </c:pt>
                <c:pt idx="4184">
                  <c:v>41785</c:v>
                </c:pt>
                <c:pt idx="4185">
                  <c:v>41786</c:v>
                </c:pt>
                <c:pt idx="4186">
                  <c:v>41787</c:v>
                </c:pt>
                <c:pt idx="4187">
                  <c:v>41788</c:v>
                </c:pt>
                <c:pt idx="4188">
                  <c:v>41789</c:v>
                </c:pt>
                <c:pt idx="4189">
                  <c:v>41792</c:v>
                </c:pt>
                <c:pt idx="4190">
                  <c:v>41793</c:v>
                </c:pt>
                <c:pt idx="4191">
                  <c:v>41794</c:v>
                </c:pt>
                <c:pt idx="4192">
                  <c:v>41795</c:v>
                </c:pt>
                <c:pt idx="4193">
                  <c:v>41796</c:v>
                </c:pt>
                <c:pt idx="4194">
                  <c:v>41799</c:v>
                </c:pt>
                <c:pt idx="4195">
                  <c:v>41800</c:v>
                </c:pt>
                <c:pt idx="4196">
                  <c:v>41801</c:v>
                </c:pt>
                <c:pt idx="4197">
                  <c:v>41802</c:v>
                </c:pt>
                <c:pt idx="4198">
                  <c:v>41803</c:v>
                </c:pt>
                <c:pt idx="4199">
                  <c:v>41806</c:v>
                </c:pt>
                <c:pt idx="4200">
                  <c:v>41807</c:v>
                </c:pt>
                <c:pt idx="4201">
                  <c:v>41808</c:v>
                </c:pt>
                <c:pt idx="4202">
                  <c:v>41809</c:v>
                </c:pt>
                <c:pt idx="4203">
                  <c:v>41810</c:v>
                </c:pt>
                <c:pt idx="4204">
                  <c:v>41813</c:v>
                </c:pt>
                <c:pt idx="4205">
                  <c:v>41814</c:v>
                </c:pt>
                <c:pt idx="4206">
                  <c:v>41815</c:v>
                </c:pt>
                <c:pt idx="4207">
                  <c:v>41816</c:v>
                </c:pt>
                <c:pt idx="4208">
                  <c:v>41817</c:v>
                </c:pt>
                <c:pt idx="4209">
                  <c:v>41820</c:v>
                </c:pt>
                <c:pt idx="4210">
                  <c:v>41821</c:v>
                </c:pt>
                <c:pt idx="4211">
                  <c:v>41822</c:v>
                </c:pt>
                <c:pt idx="4212">
                  <c:v>41823</c:v>
                </c:pt>
                <c:pt idx="4213">
                  <c:v>41827</c:v>
                </c:pt>
                <c:pt idx="4214">
                  <c:v>41828</c:v>
                </c:pt>
                <c:pt idx="4215">
                  <c:v>41829</c:v>
                </c:pt>
                <c:pt idx="4216">
                  <c:v>41830</c:v>
                </c:pt>
                <c:pt idx="4217">
                  <c:v>41831</c:v>
                </c:pt>
                <c:pt idx="4218">
                  <c:v>41834</c:v>
                </c:pt>
                <c:pt idx="4219">
                  <c:v>41835</c:v>
                </c:pt>
                <c:pt idx="4220">
                  <c:v>41836</c:v>
                </c:pt>
                <c:pt idx="4221">
                  <c:v>41837</c:v>
                </c:pt>
                <c:pt idx="4222">
                  <c:v>41838</c:v>
                </c:pt>
                <c:pt idx="4223">
                  <c:v>41841</c:v>
                </c:pt>
                <c:pt idx="4224">
                  <c:v>41842</c:v>
                </c:pt>
                <c:pt idx="4225">
                  <c:v>41843</c:v>
                </c:pt>
                <c:pt idx="4226">
                  <c:v>41844</c:v>
                </c:pt>
                <c:pt idx="4227">
                  <c:v>41845</c:v>
                </c:pt>
                <c:pt idx="4228">
                  <c:v>41848</c:v>
                </c:pt>
                <c:pt idx="4229">
                  <c:v>41849</c:v>
                </c:pt>
                <c:pt idx="4230">
                  <c:v>41850</c:v>
                </c:pt>
                <c:pt idx="4231">
                  <c:v>41851</c:v>
                </c:pt>
                <c:pt idx="4232">
                  <c:v>41852</c:v>
                </c:pt>
                <c:pt idx="4233">
                  <c:v>41855</c:v>
                </c:pt>
                <c:pt idx="4234">
                  <c:v>41856</c:v>
                </c:pt>
                <c:pt idx="4235">
                  <c:v>41857</c:v>
                </c:pt>
                <c:pt idx="4236">
                  <c:v>41858</c:v>
                </c:pt>
                <c:pt idx="4237">
                  <c:v>41859</c:v>
                </c:pt>
                <c:pt idx="4238">
                  <c:v>41862</c:v>
                </c:pt>
                <c:pt idx="4239">
                  <c:v>41863</c:v>
                </c:pt>
                <c:pt idx="4240">
                  <c:v>41864</c:v>
                </c:pt>
                <c:pt idx="4241">
                  <c:v>41865</c:v>
                </c:pt>
                <c:pt idx="4242">
                  <c:v>41866</c:v>
                </c:pt>
                <c:pt idx="4243">
                  <c:v>41869</c:v>
                </c:pt>
                <c:pt idx="4244">
                  <c:v>41870</c:v>
                </c:pt>
                <c:pt idx="4245">
                  <c:v>41871</c:v>
                </c:pt>
                <c:pt idx="4246">
                  <c:v>41872</c:v>
                </c:pt>
                <c:pt idx="4247">
                  <c:v>41873</c:v>
                </c:pt>
                <c:pt idx="4248">
                  <c:v>41876</c:v>
                </c:pt>
                <c:pt idx="4249">
                  <c:v>41877</c:v>
                </c:pt>
                <c:pt idx="4250">
                  <c:v>41878</c:v>
                </c:pt>
                <c:pt idx="4251">
                  <c:v>41879</c:v>
                </c:pt>
                <c:pt idx="4252">
                  <c:v>41880</c:v>
                </c:pt>
                <c:pt idx="4253">
                  <c:v>41884</c:v>
                </c:pt>
                <c:pt idx="4254">
                  <c:v>41885</c:v>
                </c:pt>
                <c:pt idx="4255">
                  <c:v>41886</c:v>
                </c:pt>
                <c:pt idx="4256">
                  <c:v>41887</c:v>
                </c:pt>
                <c:pt idx="4257">
                  <c:v>41890</c:v>
                </c:pt>
                <c:pt idx="4258">
                  <c:v>41891</c:v>
                </c:pt>
                <c:pt idx="4259">
                  <c:v>41892</c:v>
                </c:pt>
                <c:pt idx="4260">
                  <c:v>41893</c:v>
                </c:pt>
                <c:pt idx="4261">
                  <c:v>41894</c:v>
                </c:pt>
                <c:pt idx="4262">
                  <c:v>41897</c:v>
                </c:pt>
                <c:pt idx="4263">
                  <c:v>41898</c:v>
                </c:pt>
                <c:pt idx="4264">
                  <c:v>41899</c:v>
                </c:pt>
                <c:pt idx="4265">
                  <c:v>41900</c:v>
                </c:pt>
                <c:pt idx="4266">
                  <c:v>41901</c:v>
                </c:pt>
                <c:pt idx="4267">
                  <c:v>41904</c:v>
                </c:pt>
                <c:pt idx="4268">
                  <c:v>41905</c:v>
                </c:pt>
                <c:pt idx="4269">
                  <c:v>41906</c:v>
                </c:pt>
                <c:pt idx="4270">
                  <c:v>41907</c:v>
                </c:pt>
                <c:pt idx="4271">
                  <c:v>41908</c:v>
                </c:pt>
                <c:pt idx="4272">
                  <c:v>41911</c:v>
                </c:pt>
                <c:pt idx="4273">
                  <c:v>41912</c:v>
                </c:pt>
                <c:pt idx="4274">
                  <c:v>41913</c:v>
                </c:pt>
                <c:pt idx="4275">
                  <c:v>41914</c:v>
                </c:pt>
                <c:pt idx="4276">
                  <c:v>41915</c:v>
                </c:pt>
                <c:pt idx="4277">
                  <c:v>41918</c:v>
                </c:pt>
                <c:pt idx="4278">
                  <c:v>41919</c:v>
                </c:pt>
                <c:pt idx="4279">
                  <c:v>41920</c:v>
                </c:pt>
                <c:pt idx="4280">
                  <c:v>41921</c:v>
                </c:pt>
                <c:pt idx="4281">
                  <c:v>41922</c:v>
                </c:pt>
                <c:pt idx="4282">
                  <c:v>41925</c:v>
                </c:pt>
                <c:pt idx="4283">
                  <c:v>41926</c:v>
                </c:pt>
                <c:pt idx="4284">
                  <c:v>41927</c:v>
                </c:pt>
                <c:pt idx="4285">
                  <c:v>41928</c:v>
                </c:pt>
                <c:pt idx="4286">
                  <c:v>41929</c:v>
                </c:pt>
                <c:pt idx="4287">
                  <c:v>41932</c:v>
                </c:pt>
                <c:pt idx="4288">
                  <c:v>41933</c:v>
                </c:pt>
                <c:pt idx="4289">
                  <c:v>41934</c:v>
                </c:pt>
                <c:pt idx="4290">
                  <c:v>41935</c:v>
                </c:pt>
                <c:pt idx="4291">
                  <c:v>41936</c:v>
                </c:pt>
                <c:pt idx="4292">
                  <c:v>41939</c:v>
                </c:pt>
                <c:pt idx="4293">
                  <c:v>41940</c:v>
                </c:pt>
                <c:pt idx="4294">
                  <c:v>41941</c:v>
                </c:pt>
                <c:pt idx="4295">
                  <c:v>41942</c:v>
                </c:pt>
                <c:pt idx="4296">
                  <c:v>41943</c:v>
                </c:pt>
                <c:pt idx="4297">
                  <c:v>41946</c:v>
                </c:pt>
                <c:pt idx="4298">
                  <c:v>41947</c:v>
                </c:pt>
                <c:pt idx="4299">
                  <c:v>41948</c:v>
                </c:pt>
                <c:pt idx="4300">
                  <c:v>41949</c:v>
                </c:pt>
                <c:pt idx="4301">
                  <c:v>41950</c:v>
                </c:pt>
                <c:pt idx="4302">
                  <c:v>41953</c:v>
                </c:pt>
                <c:pt idx="4303">
                  <c:v>41954</c:v>
                </c:pt>
                <c:pt idx="4304">
                  <c:v>41955</c:v>
                </c:pt>
                <c:pt idx="4305">
                  <c:v>41956</c:v>
                </c:pt>
                <c:pt idx="4306">
                  <c:v>41957</c:v>
                </c:pt>
                <c:pt idx="4307">
                  <c:v>41960</c:v>
                </c:pt>
                <c:pt idx="4308">
                  <c:v>41961</c:v>
                </c:pt>
                <c:pt idx="4309">
                  <c:v>41962</c:v>
                </c:pt>
                <c:pt idx="4310">
                  <c:v>41963</c:v>
                </c:pt>
                <c:pt idx="4311">
                  <c:v>41964</c:v>
                </c:pt>
                <c:pt idx="4312">
                  <c:v>41967</c:v>
                </c:pt>
                <c:pt idx="4313">
                  <c:v>41968</c:v>
                </c:pt>
                <c:pt idx="4314">
                  <c:v>41969</c:v>
                </c:pt>
                <c:pt idx="4315">
                  <c:v>41971</c:v>
                </c:pt>
                <c:pt idx="4316">
                  <c:v>41974</c:v>
                </c:pt>
                <c:pt idx="4317">
                  <c:v>41975</c:v>
                </c:pt>
                <c:pt idx="4318">
                  <c:v>41976</c:v>
                </c:pt>
                <c:pt idx="4319">
                  <c:v>41977</c:v>
                </c:pt>
                <c:pt idx="4320">
                  <c:v>41978</c:v>
                </c:pt>
                <c:pt idx="4321">
                  <c:v>41981</c:v>
                </c:pt>
                <c:pt idx="4322">
                  <c:v>41982</c:v>
                </c:pt>
                <c:pt idx="4323">
                  <c:v>41983</c:v>
                </c:pt>
                <c:pt idx="4324">
                  <c:v>41984</c:v>
                </c:pt>
                <c:pt idx="4325">
                  <c:v>41985</c:v>
                </c:pt>
                <c:pt idx="4326">
                  <c:v>41988</c:v>
                </c:pt>
                <c:pt idx="4327">
                  <c:v>41989</c:v>
                </c:pt>
                <c:pt idx="4328">
                  <c:v>41990</c:v>
                </c:pt>
                <c:pt idx="4329">
                  <c:v>41991</c:v>
                </c:pt>
                <c:pt idx="4330">
                  <c:v>41992</c:v>
                </c:pt>
                <c:pt idx="4331">
                  <c:v>41995</c:v>
                </c:pt>
                <c:pt idx="4332">
                  <c:v>41996</c:v>
                </c:pt>
                <c:pt idx="4333">
                  <c:v>41997</c:v>
                </c:pt>
                <c:pt idx="4334">
                  <c:v>41999</c:v>
                </c:pt>
                <c:pt idx="4335">
                  <c:v>42002</c:v>
                </c:pt>
                <c:pt idx="4336">
                  <c:v>42003</c:v>
                </c:pt>
                <c:pt idx="4337">
                  <c:v>42004</c:v>
                </c:pt>
                <c:pt idx="4338">
                  <c:v>42006</c:v>
                </c:pt>
                <c:pt idx="4339">
                  <c:v>42009</c:v>
                </c:pt>
                <c:pt idx="4340">
                  <c:v>42010</c:v>
                </c:pt>
                <c:pt idx="4341">
                  <c:v>42011</c:v>
                </c:pt>
                <c:pt idx="4342">
                  <c:v>42012</c:v>
                </c:pt>
                <c:pt idx="4343">
                  <c:v>42013</c:v>
                </c:pt>
                <c:pt idx="4344">
                  <c:v>42016</c:v>
                </c:pt>
                <c:pt idx="4345">
                  <c:v>42017</c:v>
                </c:pt>
                <c:pt idx="4346">
                  <c:v>42018</c:v>
                </c:pt>
                <c:pt idx="4347">
                  <c:v>42019</c:v>
                </c:pt>
                <c:pt idx="4348">
                  <c:v>42020</c:v>
                </c:pt>
                <c:pt idx="4349">
                  <c:v>42024</c:v>
                </c:pt>
                <c:pt idx="4350">
                  <c:v>42025</c:v>
                </c:pt>
                <c:pt idx="4351">
                  <c:v>42026</c:v>
                </c:pt>
                <c:pt idx="4352">
                  <c:v>42027</c:v>
                </c:pt>
                <c:pt idx="4353">
                  <c:v>42030</c:v>
                </c:pt>
                <c:pt idx="4354">
                  <c:v>42031</c:v>
                </c:pt>
                <c:pt idx="4355">
                  <c:v>42032</c:v>
                </c:pt>
                <c:pt idx="4356">
                  <c:v>42033</c:v>
                </c:pt>
                <c:pt idx="4357">
                  <c:v>42034</c:v>
                </c:pt>
                <c:pt idx="4358">
                  <c:v>42037</c:v>
                </c:pt>
                <c:pt idx="4359">
                  <c:v>42038</c:v>
                </c:pt>
                <c:pt idx="4360">
                  <c:v>42039</c:v>
                </c:pt>
                <c:pt idx="4361">
                  <c:v>42040</c:v>
                </c:pt>
                <c:pt idx="4362">
                  <c:v>42041</c:v>
                </c:pt>
                <c:pt idx="4363">
                  <c:v>42044</c:v>
                </c:pt>
                <c:pt idx="4364">
                  <c:v>42045</c:v>
                </c:pt>
                <c:pt idx="4365">
                  <c:v>42046</c:v>
                </c:pt>
                <c:pt idx="4366">
                  <c:v>42047</c:v>
                </c:pt>
                <c:pt idx="4367">
                  <c:v>42048</c:v>
                </c:pt>
                <c:pt idx="4368">
                  <c:v>42051</c:v>
                </c:pt>
                <c:pt idx="4369">
                  <c:v>42052</c:v>
                </c:pt>
                <c:pt idx="4370">
                  <c:v>42053</c:v>
                </c:pt>
                <c:pt idx="4371">
                  <c:v>42054</c:v>
                </c:pt>
                <c:pt idx="4372">
                  <c:v>42055</c:v>
                </c:pt>
                <c:pt idx="4373">
                  <c:v>42058</c:v>
                </c:pt>
                <c:pt idx="4374">
                  <c:v>42059</c:v>
                </c:pt>
                <c:pt idx="4375">
                  <c:v>42060</c:v>
                </c:pt>
                <c:pt idx="4376">
                  <c:v>42061</c:v>
                </c:pt>
                <c:pt idx="4377">
                  <c:v>42062</c:v>
                </c:pt>
                <c:pt idx="4378">
                  <c:v>42065</c:v>
                </c:pt>
                <c:pt idx="4379">
                  <c:v>42066</c:v>
                </c:pt>
                <c:pt idx="4380">
                  <c:v>42067</c:v>
                </c:pt>
                <c:pt idx="4381">
                  <c:v>42068</c:v>
                </c:pt>
                <c:pt idx="4382">
                  <c:v>42069</c:v>
                </c:pt>
                <c:pt idx="4383">
                  <c:v>42072</c:v>
                </c:pt>
                <c:pt idx="4384">
                  <c:v>42073</c:v>
                </c:pt>
                <c:pt idx="4385">
                  <c:v>42074</c:v>
                </c:pt>
                <c:pt idx="4386">
                  <c:v>42075</c:v>
                </c:pt>
                <c:pt idx="4387">
                  <c:v>42076</c:v>
                </c:pt>
                <c:pt idx="4388">
                  <c:v>42079</c:v>
                </c:pt>
                <c:pt idx="4389">
                  <c:v>42080</c:v>
                </c:pt>
                <c:pt idx="4390">
                  <c:v>42081</c:v>
                </c:pt>
                <c:pt idx="4391">
                  <c:v>42082</c:v>
                </c:pt>
                <c:pt idx="4392">
                  <c:v>42083</c:v>
                </c:pt>
                <c:pt idx="4393">
                  <c:v>42086</c:v>
                </c:pt>
                <c:pt idx="4394">
                  <c:v>42087</c:v>
                </c:pt>
                <c:pt idx="4395">
                  <c:v>42088</c:v>
                </c:pt>
                <c:pt idx="4396">
                  <c:v>42089</c:v>
                </c:pt>
                <c:pt idx="4397">
                  <c:v>42090</c:v>
                </c:pt>
                <c:pt idx="4398">
                  <c:v>42093</c:v>
                </c:pt>
                <c:pt idx="4399">
                  <c:v>42094</c:v>
                </c:pt>
                <c:pt idx="4400">
                  <c:v>42095</c:v>
                </c:pt>
                <c:pt idx="4401">
                  <c:v>42096</c:v>
                </c:pt>
                <c:pt idx="4402">
                  <c:v>42100</c:v>
                </c:pt>
                <c:pt idx="4403">
                  <c:v>42101</c:v>
                </c:pt>
                <c:pt idx="4404">
                  <c:v>42102</c:v>
                </c:pt>
                <c:pt idx="4405">
                  <c:v>42103</c:v>
                </c:pt>
                <c:pt idx="4406">
                  <c:v>42104</c:v>
                </c:pt>
                <c:pt idx="4407">
                  <c:v>42107</c:v>
                </c:pt>
                <c:pt idx="4408">
                  <c:v>42108</c:v>
                </c:pt>
                <c:pt idx="4409">
                  <c:v>42109</c:v>
                </c:pt>
                <c:pt idx="4410">
                  <c:v>42110</c:v>
                </c:pt>
                <c:pt idx="4411">
                  <c:v>42111</c:v>
                </c:pt>
                <c:pt idx="4412">
                  <c:v>42114</c:v>
                </c:pt>
                <c:pt idx="4413">
                  <c:v>42115</c:v>
                </c:pt>
                <c:pt idx="4414">
                  <c:v>42116</c:v>
                </c:pt>
                <c:pt idx="4415">
                  <c:v>42117</c:v>
                </c:pt>
                <c:pt idx="4416">
                  <c:v>42118</c:v>
                </c:pt>
                <c:pt idx="4417">
                  <c:v>42121</c:v>
                </c:pt>
                <c:pt idx="4418">
                  <c:v>42122</c:v>
                </c:pt>
                <c:pt idx="4419">
                  <c:v>42123</c:v>
                </c:pt>
                <c:pt idx="4420">
                  <c:v>42124</c:v>
                </c:pt>
                <c:pt idx="4421">
                  <c:v>42125</c:v>
                </c:pt>
                <c:pt idx="4422">
                  <c:v>42128</c:v>
                </c:pt>
                <c:pt idx="4423">
                  <c:v>42129</c:v>
                </c:pt>
                <c:pt idx="4424">
                  <c:v>42130</c:v>
                </c:pt>
                <c:pt idx="4425">
                  <c:v>42131</c:v>
                </c:pt>
                <c:pt idx="4426">
                  <c:v>42132</c:v>
                </c:pt>
                <c:pt idx="4427">
                  <c:v>42135</c:v>
                </c:pt>
                <c:pt idx="4428">
                  <c:v>42136</c:v>
                </c:pt>
                <c:pt idx="4429">
                  <c:v>42137</c:v>
                </c:pt>
                <c:pt idx="4430">
                  <c:v>42138</c:v>
                </c:pt>
                <c:pt idx="4431">
                  <c:v>42139</c:v>
                </c:pt>
                <c:pt idx="4432">
                  <c:v>42142</c:v>
                </c:pt>
                <c:pt idx="4433">
                  <c:v>42143</c:v>
                </c:pt>
                <c:pt idx="4434">
                  <c:v>42144</c:v>
                </c:pt>
                <c:pt idx="4435">
                  <c:v>42145</c:v>
                </c:pt>
                <c:pt idx="4436">
                  <c:v>42146</c:v>
                </c:pt>
                <c:pt idx="4437">
                  <c:v>42150</c:v>
                </c:pt>
                <c:pt idx="4438">
                  <c:v>42151</c:v>
                </c:pt>
                <c:pt idx="4439">
                  <c:v>42152</c:v>
                </c:pt>
                <c:pt idx="4440">
                  <c:v>42153</c:v>
                </c:pt>
                <c:pt idx="4441">
                  <c:v>42156</c:v>
                </c:pt>
                <c:pt idx="4442">
                  <c:v>42157</c:v>
                </c:pt>
                <c:pt idx="4443">
                  <c:v>42158</c:v>
                </c:pt>
                <c:pt idx="4444">
                  <c:v>42159</c:v>
                </c:pt>
                <c:pt idx="4445">
                  <c:v>42160</c:v>
                </c:pt>
                <c:pt idx="4446">
                  <c:v>42163</c:v>
                </c:pt>
                <c:pt idx="4447">
                  <c:v>42164</c:v>
                </c:pt>
                <c:pt idx="4448">
                  <c:v>42165</c:v>
                </c:pt>
                <c:pt idx="4449">
                  <c:v>42166</c:v>
                </c:pt>
                <c:pt idx="4450">
                  <c:v>42167</c:v>
                </c:pt>
                <c:pt idx="4451">
                  <c:v>42170</c:v>
                </c:pt>
                <c:pt idx="4452">
                  <c:v>42171</c:v>
                </c:pt>
                <c:pt idx="4453">
                  <c:v>42172</c:v>
                </c:pt>
                <c:pt idx="4454">
                  <c:v>42173</c:v>
                </c:pt>
                <c:pt idx="4455">
                  <c:v>42174</c:v>
                </c:pt>
                <c:pt idx="4456">
                  <c:v>42177</c:v>
                </c:pt>
                <c:pt idx="4457">
                  <c:v>42178</c:v>
                </c:pt>
                <c:pt idx="4458">
                  <c:v>42179</c:v>
                </c:pt>
                <c:pt idx="4459">
                  <c:v>42180</c:v>
                </c:pt>
                <c:pt idx="4460">
                  <c:v>42181</c:v>
                </c:pt>
                <c:pt idx="4461">
                  <c:v>42184</c:v>
                </c:pt>
                <c:pt idx="4462">
                  <c:v>42185</c:v>
                </c:pt>
                <c:pt idx="4463">
                  <c:v>42186</c:v>
                </c:pt>
                <c:pt idx="4464">
                  <c:v>42187</c:v>
                </c:pt>
                <c:pt idx="4465">
                  <c:v>42188</c:v>
                </c:pt>
                <c:pt idx="4466">
                  <c:v>42191</c:v>
                </c:pt>
                <c:pt idx="4467">
                  <c:v>42192</c:v>
                </c:pt>
                <c:pt idx="4468">
                  <c:v>42193</c:v>
                </c:pt>
                <c:pt idx="4469">
                  <c:v>42194</c:v>
                </c:pt>
                <c:pt idx="4470">
                  <c:v>42195</c:v>
                </c:pt>
                <c:pt idx="4471">
                  <c:v>42198</c:v>
                </c:pt>
                <c:pt idx="4472">
                  <c:v>42199</c:v>
                </c:pt>
                <c:pt idx="4473">
                  <c:v>42200</c:v>
                </c:pt>
                <c:pt idx="4474">
                  <c:v>42201</c:v>
                </c:pt>
                <c:pt idx="4475">
                  <c:v>42202</c:v>
                </c:pt>
                <c:pt idx="4476">
                  <c:v>42205</c:v>
                </c:pt>
                <c:pt idx="4477">
                  <c:v>42206</c:v>
                </c:pt>
                <c:pt idx="4478">
                  <c:v>42207</c:v>
                </c:pt>
                <c:pt idx="4479">
                  <c:v>42208</c:v>
                </c:pt>
                <c:pt idx="4480">
                  <c:v>42209</c:v>
                </c:pt>
                <c:pt idx="4481">
                  <c:v>42212</c:v>
                </c:pt>
                <c:pt idx="4482">
                  <c:v>42213</c:v>
                </c:pt>
                <c:pt idx="4483">
                  <c:v>42214</c:v>
                </c:pt>
                <c:pt idx="4484">
                  <c:v>42215</c:v>
                </c:pt>
                <c:pt idx="4485">
                  <c:v>42216</c:v>
                </c:pt>
                <c:pt idx="4486">
                  <c:v>42219</c:v>
                </c:pt>
                <c:pt idx="4487">
                  <c:v>42220</c:v>
                </c:pt>
                <c:pt idx="4488">
                  <c:v>42221</c:v>
                </c:pt>
                <c:pt idx="4489">
                  <c:v>42222</c:v>
                </c:pt>
                <c:pt idx="4490">
                  <c:v>42223</c:v>
                </c:pt>
                <c:pt idx="4491">
                  <c:v>42226</c:v>
                </c:pt>
                <c:pt idx="4492">
                  <c:v>42227</c:v>
                </c:pt>
                <c:pt idx="4493">
                  <c:v>42228</c:v>
                </c:pt>
                <c:pt idx="4494">
                  <c:v>42229</c:v>
                </c:pt>
                <c:pt idx="4495">
                  <c:v>42230</c:v>
                </c:pt>
                <c:pt idx="4496">
                  <c:v>42233</c:v>
                </c:pt>
                <c:pt idx="4497">
                  <c:v>42234</c:v>
                </c:pt>
                <c:pt idx="4498">
                  <c:v>42235</c:v>
                </c:pt>
                <c:pt idx="4499">
                  <c:v>42236</c:v>
                </c:pt>
                <c:pt idx="4500">
                  <c:v>42237</c:v>
                </c:pt>
                <c:pt idx="4501">
                  <c:v>42240</c:v>
                </c:pt>
                <c:pt idx="4502">
                  <c:v>42241</c:v>
                </c:pt>
                <c:pt idx="4503">
                  <c:v>42242</c:v>
                </c:pt>
                <c:pt idx="4504">
                  <c:v>42243</c:v>
                </c:pt>
                <c:pt idx="4505">
                  <c:v>42244</c:v>
                </c:pt>
                <c:pt idx="4506">
                  <c:v>42247</c:v>
                </c:pt>
                <c:pt idx="4507">
                  <c:v>42248</c:v>
                </c:pt>
                <c:pt idx="4508">
                  <c:v>42249</c:v>
                </c:pt>
                <c:pt idx="4509">
                  <c:v>42250</c:v>
                </c:pt>
                <c:pt idx="4510">
                  <c:v>42251</c:v>
                </c:pt>
                <c:pt idx="4511">
                  <c:v>42254</c:v>
                </c:pt>
                <c:pt idx="4512">
                  <c:v>42255</c:v>
                </c:pt>
                <c:pt idx="4513">
                  <c:v>42256</c:v>
                </c:pt>
                <c:pt idx="4514">
                  <c:v>42257</c:v>
                </c:pt>
                <c:pt idx="4515">
                  <c:v>42258</c:v>
                </c:pt>
                <c:pt idx="4516">
                  <c:v>42261</c:v>
                </c:pt>
                <c:pt idx="4517">
                  <c:v>42262</c:v>
                </c:pt>
                <c:pt idx="4518">
                  <c:v>42263</c:v>
                </c:pt>
                <c:pt idx="4519">
                  <c:v>42264</c:v>
                </c:pt>
                <c:pt idx="4520">
                  <c:v>42265</c:v>
                </c:pt>
                <c:pt idx="4521">
                  <c:v>42268</c:v>
                </c:pt>
                <c:pt idx="4522">
                  <c:v>42269</c:v>
                </c:pt>
                <c:pt idx="4523">
                  <c:v>42270</c:v>
                </c:pt>
                <c:pt idx="4524">
                  <c:v>42271</c:v>
                </c:pt>
                <c:pt idx="4525">
                  <c:v>42272</c:v>
                </c:pt>
                <c:pt idx="4526">
                  <c:v>42275</c:v>
                </c:pt>
                <c:pt idx="4527">
                  <c:v>42276</c:v>
                </c:pt>
                <c:pt idx="4528">
                  <c:v>42277</c:v>
                </c:pt>
                <c:pt idx="4529">
                  <c:v>42278</c:v>
                </c:pt>
                <c:pt idx="4530">
                  <c:v>42279</c:v>
                </c:pt>
                <c:pt idx="4531">
                  <c:v>42282</c:v>
                </c:pt>
                <c:pt idx="4532">
                  <c:v>42283</c:v>
                </c:pt>
                <c:pt idx="4533">
                  <c:v>42284</c:v>
                </c:pt>
                <c:pt idx="4534">
                  <c:v>42285</c:v>
                </c:pt>
                <c:pt idx="4535">
                  <c:v>42286</c:v>
                </c:pt>
                <c:pt idx="4536">
                  <c:v>42289</c:v>
                </c:pt>
                <c:pt idx="4537">
                  <c:v>42290</c:v>
                </c:pt>
                <c:pt idx="4538">
                  <c:v>42291</c:v>
                </c:pt>
                <c:pt idx="4539">
                  <c:v>42292</c:v>
                </c:pt>
                <c:pt idx="4540">
                  <c:v>42293</c:v>
                </c:pt>
                <c:pt idx="4541">
                  <c:v>42296</c:v>
                </c:pt>
                <c:pt idx="4542">
                  <c:v>42297</c:v>
                </c:pt>
                <c:pt idx="4543">
                  <c:v>42298</c:v>
                </c:pt>
                <c:pt idx="4544">
                  <c:v>42299</c:v>
                </c:pt>
                <c:pt idx="4545">
                  <c:v>42300</c:v>
                </c:pt>
                <c:pt idx="4546">
                  <c:v>42303</c:v>
                </c:pt>
                <c:pt idx="4547">
                  <c:v>42304</c:v>
                </c:pt>
                <c:pt idx="4548">
                  <c:v>42305</c:v>
                </c:pt>
                <c:pt idx="4549">
                  <c:v>42306</c:v>
                </c:pt>
                <c:pt idx="4550">
                  <c:v>42307</c:v>
                </c:pt>
                <c:pt idx="4551">
                  <c:v>42310</c:v>
                </c:pt>
                <c:pt idx="4552">
                  <c:v>42311</c:v>
                </c:pt>
                <c:pt idx="4553">
                  <c:v>42312</c:v>
                </c:pt>
                <c:pt idx="4554">
                  <c:v>42313</c:v>
                </c:pt>
                <c:pt idx="4555">
                  <c:v>42314</c:v>
                </c:pt>
                <c:pt idx="4556">
                  <c:v>42317</c:v>
                </c:pt>
                <c:pt idx="4557">
                  <c:v>42318</c:v>
                </c:pt>
                <c:pt idx="4558">
                  <c:v>42319</c:v>
                </c:pt>
                <c:pt idx="4559">
                  <c:v>42320</c:v>
                </c:pt>
                <c:pt idx="4560">
                  <c:v>42321</c:v>
                </c:pt>
                <c:pt idx="4561">
                  <c:v>42324</c:v>
                </c:pt>
                <c:pt idx="4562">
                  <c:v>42325</c:v>
                </c:pt>
                <c:pt idx="4563">
                  <c:v>42326</c:v>
                </c:pt>
                <c:pt idx="4564">
                  <c:v>42327</c:v>
                </c:pt>
                <c:pt idx="4565">
                  <c:v>42328</c:v>
                </c:pt>
                <c:pt idx="4566">
                  <c:v>42331</c:v>
                </c:pt>
                <c:pt idx="4567">
                  <c:v>42332</c:v>
                </c:pt>
                <c:pt idx="4568">
                  <c:v>42333</c:v>
                </c:pt>
                <c:pt idx="4569">
                  <c:v>42334</c:v>
                </c:pt>
                <c:pt idx="4570">
                  <c:v>42335</c:v>
                </c:pt>
                <c:pt idx="4571">
                  <c:v>42338</c:v>
                </c:pt>
                <c:pt idx="4572">
                  <c:v>42339</c:v>
                </c:pt>
                <c:pt idx="4573">
                  <c:v>42340</c:v>
                </c:pt>
                <c:pt idx="4574">
                  <c:v>42341</c:v>
                </c:pt>
                <c:pt idx="4575">
                  <c:v>42342</c:v>
                </c:pt>
                <c:pt idx="4576">
                  <c:v>42345</c:v>
                </c:pt>
                <c:pt idx="4577">
                  <c:v>42346</c:v>
                </c:pt>
                <c:pt idx="4578">
                  <c:v>42347</c:v>
                </c:pt>
                <c:pt idx="4579">
                  <c:v>42348</c:v>
                </c:pt>
                <c:pt idx="4580">
                  <c:v>42349</c:v>
                </c:pt>
                <c:pt idx="4581">
                  <c:v>42352</c:v>
                </c:pt>
                <c:pt idx="4582">
                  <c:v>42353</c:v>
                </c:pt>
                <c:pt idx="4583">
                  <c:v>42354</c:v>
                </c:pt>
                <c:pt idx="4584">
                  <c:v>42355</c:v>
                </c:pt>
                <c:pt idx="4585">
                  <c:v>42356</c:v>
                </c:pt>
                <c:pt idx="4586">
                  <c:v>42359</c:v>
                </c:pt>
                <c:pt idx="4587">
                  <c:v>42360</c:v>
                </c:pt>
                <c:pt idx="4588">
                  <c:v>42361</c:v>
                </c:pt>
                <c:pt idx="4589">
                  <c:v>42362</c:v>
                </c:pt>
                <c:pt idx="4590">
                  <c:v>42366</c:v>
                </c:pt>
                <c:pt idx="4591">
                  <c:v>42367</c:v>
                </c:pt>
                <c:pt idx="4592">
                  <c:v>42368</c:v>
                </c:pt>
                <c:pt idx="4593">
                  <c:v>42369</c:v>
                </c:pt>
                <c:pt idx="4594">
                  <c:v>42373</c:v>
                </c:pt>
                <c:pt idx="4595">
                  <c:v>42374</c:v>
                </c:pt>
                <c:pt idx="4596">
                  <c:v>42375</c:v>
                </c:pt>
                <c:pt idx="4597">
                  <c:v>42376</c:v>
                </c:pt>
                <c:pt idx="4598">
                  <c:v>42377</c:v>
                </c:pt>
                <c:pt idx="4599">
                  <c:v>42380</c:v>
                </c:pt>
                <c:pt idx="4600">
                  <c:v>42381</c:v>
                </c:pt>
                <c:pt idx="4601">
                  <c:v>42382</c:v>
                </c:pt>
                <c:pt idx="4602">
                  <c:v>42383</c:v>
                </c:pt>
                <c:pt idx="4603">
                  <c:v>42384</c:v>
                </c:pt>
                <c:pt idx="4604">
                  <c:v>42387</c:v>
                </c:pt>
                <c:pt idx="4605">
                  <c:v>42388</c:v>
                </c:pt>
                <c:pt idx="4606">
                  <c:v>42389</c:v>
                </c:pt>
                <c:pt idx="4607">
                  <c:v>42390</c:v>
                </c:pt>
                <c:pt idx="4608">
                  <c:v>42391</c:v>
                </c:pt>
                <c:pt idx="4609">
                  <c:v>42394</c:v>
                </c:pt>
                <c:pt idx="4610">
                  <c:v>42395</c:v>
                </c:pt>
                <c:pt idx="4611">
                  <c:v>42396</c:v>
                </c:pt>
                <c:pt idx="4612">
                  <c:v>42397</c:v>
                </c:pt>
                <c:pt idx="4613">
                  <c:v>42398</c:v>
                </c:pt>
                <c:pt idx="4614">
                  <c:v>42401</c:v>
                </c:pt>
                <c:pt idx="4615">
                  <c:v>42402</c:v>
                </c:pt>
                <c:pt idx="4616">
                  <c:v>42403</c:v>
                </c:pt>
                <c:pt idx="4617">
                  <c:v>42404</c:v>
                </c:pt>
                <c:pt idx="4618">
                  <c:v>42405</c:v>
                </c:pt>
                <c:pt idx="4619">
                  <c:v>42408</c:v>
                </c:pt>
                <c:pt idx="4620">
                  <c:v>42409</c:v>
                </c:pt>
                <c:pt idx="4621">
                  <c:v>42410</c:v>
                </c:pt>
                <c:pt idx="4622">
                  <c:v>42411</c:v>
                </c:pt>
                <c:pt idx="4623">
                  <c:v>42412</c:v>
                </c:pt>
                <c:pt idx="4624">
                  <c:v>42416</c:v>
                </c:pt>
                <c:pt idx="4625">
                  <c:v>42417</c:v>
                </c:pt>
                <c:pt idx="4626">
                  <c:v>42418</c:v>
                </c:pt>
                <c:pt idx="4627">
                  <c:v>42419</c:v>
                </c:pt>
                <c:pt idx="4628">
                  <c:v>42422</c:v>
                </c:pt>
                <c:pt idx="4629">
                  <c:v>42423</c:v>
                </c:pt>
                <c:pt idx="4630">
                  <c:v>42424</c:v>
                </c:pt>
                <c:pt idx="4631">
                  <c:v>42425</c:v>
                </c:pt>
                <c:pt idx="4632">
                  <c:v>42426</c:v>
                </c:pt>
                <c:pt idx="4633">
                  <c:v>42429</c:v>
                </c:pt>
                <c:pt idx="4634">
                  <c:v>42430</c:v>
                </c:pt>
                <c:pt idx="4635">
                  <c:v>42431</c:v>
                </c:pt>
                <c:pt idx="4636">
                  <c:v>42432</c:v>
                </c:pt>
                <c:pt idx="4637">
                  <c:v>42433</c:v>
                </c:pt>
                <c:pt idx="4638">
                  <c:v>42436</c:v>
                </c:pt>
                <c:pt idx="4639">
                  <c:v>42437</c:v>
                </c:pt>
                <c:pt idx="4640">
                  <c:v>42438</c:v>
                </c:pt>
                <c:pt idx="4641">
                  <c:v>42439</c:v>
                </c:pt>
                <c:pt idx="4642">
                  <c:v>42440</c:v>
                </c:pt>
                <c:pt idx="4643">
                  <c:v>42443</c:v>
                </c:pt>
                <c:pt idx="4644">
                  <c:v>42444</c:v>
                </c:pt>
                <c:pt idx="4645">
                  <c:v>42445</c:v>
                </c:pt>
                <c:pt idx="4646">
                  <c:v>42446</c:v>
                </c:pt>
                <c:pt idx="4647">
                  <c:v>42447</c:v>
                </c:pt>
                <c:pt idx="4648">
                  <c:v>42450</c:v>
                </c:pt>
                <c:pt idx="4649">
                  <c:v>42451</c:v>
                </c:pt>
                <c:pt idx="4650">
                  <c:v>42452</c:v>
                </c:pt>
                <c:pt idx="4651">
                  <c:v>42453</c:v>
                </c:pt>
                <c:pt idx="4652">
                  <c:v>42457</c:v>
                </c:pt>
                <c:pt idx="4653">
                  <c:v>42458</c:v>
                </c:pt>
                <c:pt idx="4654">
                  <c:v>42459</c:v>
                </c:pt>
                <c:pt idx="4655">
                  <c:v>42460</c:v>
                </c:pt>
                <c:pt idx="4656">
                  <c:v>42461</c:v>
                </c:pt>
                <c:pt idx="4657">
                  <c:v>42464</c:v>
                </c:pt>
                <c:pt idx="4658">
                  <c:v>42465</c:v>
                </c:pt>
                <c:pt idx="4659">
                  <c:v>42466</c:v>
                </c:pt>
                <c:pt idx="4660">
                  <c:v>42467</c:v>
                </c:pt>
                <c:pt idx="4661">
                  <c:v>42468</c:v>
                </c:pt>
                <c:pt idx="4662">
                  <c:v>42471</c:v>
                </c:pt>
                <c:pt idx="4663">
                  <c:v>42472</c:v>
                </c:pt>
                <c:pt idx="4664">
                  <c:v>42473</c:v>
                </c:pt>
                <c:pt idx="4665">
                  <c:v>42474</c:v>
                </c:pt>
                <c:pt idx="4666">
                  <c:v>42475</c:v>
                </c:pt>
                <c:pt idx="4667">
                  <c:v>42478</c:v>
                </c:pt>
                <c:pt idx="4668">
                  <c:v>42479</c:v>
                </c:pt>
                <c:pt idx="4669">
                  <c:v>42480</c:v>
                </c:pt>
                <c:pt idx="4670">
                  <c:v>42481</c:v>
                </c:pt>
                <c:pt idx="4671">
                  <c:v>42482</c:v>
                </c:pt>
                <c:pt idx="4672">
                  <c:v>42485</c:v>
                </c:pt>
                <c:pt idx="4673">
                  <c:v>42486</c:v>
                </c:pt>
                <c:pt idx="4674">
                  <c:v>42487</c:v>
                </c:pt>
                <c:pt idx="4675">
                  <c:v>42488</c:v>
                </c:pt>
                <c:pt idx="4676">
                  <c:v>42489</c:v>
                </c:pt>
                <c:pt idx="4677">
                  <c:v>42492</c:v>
                </c:pt>
                <c:pt idx="4678">
                  <c:v>42493</c:v>
                </c:pt>
                <c:pt idx="4679">
                  <c:v>42494</c:v>
                </c:pt>
                <c:pt idx="4680">
                  <c:v>42495</c:v>
                </c:pt>
                <c:pt idx="4681">
                  <c:v>42496</c:v>
                </c:pt>
                <c:pt idx="4682">
                  <c:v>42499</c:v>
                </c:pt>
                <c:pt idx="4683">
                  <c:v>42500</c:v>
                </c:pt>
                <c:pt idx="4684">
                  <c:v>42501</c:v>
                </c:pt>
                <c:pt idx="4685">
                  <c:v>42502</c:v>
                </c:pt>
                <c:pt idx="4686">
                  <c:v>42503</c:v>
                </c:pt>
                <c:pt idx="4687">
                  <c:v>42506</c:v>
                </c:pt>
                <c:pt idx="4688">
                  <c:v>42507</c:v>
                </c:pt>
                <c:pt idx="4689">
                  <c:v>42508</c:v>
                </c:pt>
                <c:pt idx="4690">
                  <c:v>42509</c:v>
                </c:pt>
                <c:pt idx="4691">
                  <c:v>42510</c:v>
                </c:pt>
                <c:pt idx="4692">
                  <c:v>42513</c:v>
                </c:pt>
                <c:pt idx="4693">
                  <c:v>42514</c:v>
                </c:pt>
                <c:pt idx="4694">
                  <c:v>42515</c:v>
                </c:pt>
                <c:pt idx="4695">
                  <c:v>42516</c:v>
                </c:pt>
                <c:pt idx="4696">
                  <c:v>42517</c:v>
                </c:pt>
                <c:pt idx="4697">
                  <c:v>42521</c:v>
                </c:pt>
                <c:pt idx="4698">
                  <c:v>42522</c:v>
                </c:pt>
                <c:pt idx="4699">
                  <c:v>42523</c:v>
                </c:pt>
                <c:pt idx="4700">
                  <c:v>42524</c:v>
                </c:pt>
                <c:pt idx="4701">
                  <c:v>42527</c:v>
                </c:pt>
                <c:pt idx="4702">
                  <c:v>42528</c:v>
                </c:pt>
                <c:pt idx="4703">
                  <c:v>42529</c:v>
                </c:pt>
                <c:pt idx="4704">
                  <c:v>42530</c:v>
                </c:pt>
                <c:pt idx="4705">
                  <c:v>42531</c:v>
                </c:pt>
                <c:pt idx="4706">
                  <c:v>42534</c:v>
                </c:pt>
                <c:pt idx="4707">
                  <c:v>42535</c:v>
                </c:pt>
                <c:pt idx="4708">
                  <c:v>42536</c:v>
                </c:pt>
                <c:pt idx="4709">
                  <c:v>42537</c:v>
                </c:pt>
                <c:pt idx="4710">
                  <c:v>42538</c:v>
                </c:pt>
                <c:pt idx="4711">
                  <c:v>42541</c:v>
                </c:pt>
                <c:pt idx="4712">
                  <c:v>42542</c:v>
                </c:pt>
                <c:pt idx="4713">
                  <c:v>42543</c:v>
                </c:pt>
                <c:pt idx="4714">
                  <c:v>42544</c:v>
                </c:pt>
                <c:pt idx="4715">
                  <c:v>42545</c:v>
                </c:pt>
                <c:pt idx="4716">
                  <c:v>42548</c:v>
                </c:pt>
                <c:pt idx="4717">
                  <c:v>42549</c:v>
                </c:pt>
                <c:pt idx="4718">
                  <c:v>42550</c:v>
                </c:pt>
                <c:pt idx="4719">
                  <c:v>42551</c:v>
                </c:pt>
                <c:pt idx="4720">
                  <c:v>42552</c:v>
                </c:pt>
                <c:pt idx="4721">
                  <c:v>42555</c:v>
                </c:pt>
                <c:pt idx="4722">
                  <c:v>42556</c:v>
                </c:pt>
                <c:pt idx="4723">
                  <c:v>42557</c:v>
                </c:pt>
                <c:pt idx="4724">
                  <c:v>42558</c:v>
                </c:pt>
                <c:pt idx="4725">
                  <c:v>42559</c:v>
                </c:pt>
                <c:pt idx="4726">
                  <c:v>42562</c:v>
                </c:pt>
                <c:pt idx="4727">
                  <c:v>42563</c:v>
                </c:pt>
                <c:pt idx="4728">
                  <c:v>42564</c:v>
                </c:pt>
                <c:pt idx="4729">
                  <c:v>42565</c:v>
                </c:pt>
                <c:pt idx="4730">
                  <c:v>42566</c:v>
                </c:pt>
                <c:pt idx="4731">
                  <c:v>42569</c:v>
                </c:pt>
                <c:pt idx="4732">
                  <c:v>42570</c:v>
                </c:pt>
                <c:pt idx="4733">
                  <c:v>42571</c:v>
                </c:pt>
                <c:pt idx="4734">
                  <c:v>42572</c:v>
                </c:pt>
                <c:pt idx="4735">
                  <c:v>42573</c:v>
                </c:pt>
                <c:pt idx="4736">
                  <c:v>42576</c:v>
                </c:pt>
                <c:pt idx="4737">
                  <c:v>42577</c:v>
                </c:pt>
                <c:pt idx="4738">
                  <c:v>42578</c:v>
                </c:pt>
                <c:pt idx="4739">
                  <c:v>42579</c:v>
                </c:pt>
                <c:pt idx="4740">
                  <c:v>42580</c:v>
                </c:pt>
                <c:pt idx="4741">
                  <c:v>42583</c:v>
                </c:pt>
                <c:pt idx="4742">
                  <c:v>42584</c:v>
                </c:pt>
                <c:pt idx="4743">
                  <c:v>42585</c:v>
                </c:pt>
                <c:pt idx="4744">
                  <c:v>42586</c:v>
                </c:pt>
                <c:pt idx="4745">
                  <c:v>42587</c:v>
                </c:pt>
                <c:pt idx="4746">
                  <c:v>42590</c:v>
                </c:pt>
                <c:pt idx="4747">
                  <c:v>42591</c:v>
                </c:pt>
                <c:pt idx="4748">
                  <c:v>42592</c:v>
                </c:pt>
                <c:pt idx="4749">
                  <c:v>42593</c:v>
                </c:pt>
                <c:pt idx="4750">
                  <c:v>42594</c:v>
                </c:pt>
                <c:pt idx="4751">
                  <c:v>42597</c:v>
                </c:pt>
                <c:pt idx="4752">
                  <c:v>42598</c:v>
                </c:pt>
                <c:pt idx="4753">
                  <c:v>42599</c:v>
                </c:pt>
                <c:pt idx="4754">
                  <c:v>42600</c:v>
                </c:pt>
                <c:pt idx="4755">
                  <c:v>42601</c:v>
                </c:pt>
                <c:pt idx="4756">
                  <c:v>42604</c:v>
                </c:pt>
                <c:pt idx="4757">
                  <c:v>42605</c:v>
                </c:pt>
                <c:pt idx="4758">
                  <c:v>42606</c:v>
                </c:pt>
                <c:pt idx="4759">
                  <c:v>42607</c:v>
                </c:pt>
                <c:pt idx="4760">
                  <c:v>42608</c:v>
                </c:pt>
                <c:pt idx="4761">
                  <c:v>42611</c:v>
                </c:pt>
                <c:pt idx="4762">
                  <c:v>42612</c:v>
                </c:pt>
                <c:pt idx="4763">
                  <c:v>42613</c:v>
                </c:pt>
                <c:pt idx="4764">
                  <c:v>42614</c:v>
                </c:pt>
                <c:pt idx="4765">
                  <c:v>42615</c:v>
                </c:pt>
                <c:pt idx="4766">
                  <c:v>42618</c:v>
                </c:pt>
                <c:pt idx="4767">
                  <c:v>42619</c:v>
                </c:pt>
                <c:pt idx="4768">
                  <c:v>42620</c:v>
                </c:pt>
                <c:pt idx="4769">
                  <c:v>42621</c:v>
                </c:pt>
                <c:pt idx="4770">
                  <c:v>42622</c:v>
                </c:pt>
                <c:pt idx="4771">
                  <c:v>42625</c:v>
                </c:pt>
                <c:pt idx="4772">
                  <c:v>42626</c:v>
                </c:pt>
                <c:pt idx="4773">
                  <c:v>42627</c:v>
                </c:pt>
                <c:pt idx="4774">
                  <c:v>42628</c:v>
                </c:pt>
                <c:pt idx="4775">
                  <c:v>42629</c:v>
                </c:pt>
                <c:pt idx="4776">
                  <c:v>42632</c:v>
                </c:pt>
                <c:pt idx="4777">
                  <c:v>42633</c:v>
                </c:pt>
                <c:pt idx="4778">
                  <c:v>42634</c:v>
                </c:pt>
                <c:pt idx="4779">
                  <c:v>42635</c:v>
                </c:pt>
                <c:pt idx="4780">
                  <c:v>42636</c:v>
                </c:pt>
                <c:pt idx="4781">
                  <c:v>42639</c:v>
                </c:pt>
              </c:numCache>
            </c:numRef>
          </c:cat>
          <c:val>
            <c:numRef>
              <c:f>'[PET_PRI_SPT_S1_D.xls]Data 1'!$G$3082:$G$7863</c:f>
              <c:numCache>
                <c:formatCode>General</c:formatCode>
                <c:ptCount val="4782"/>
                <c:pt idx="0">
                  <c:v>15.77</c:v>
                </c:pt>
                <c:pt idx="1">
                  <c:v>15.29</c:v>
                </c:pt>
                <c:pt idx="2">
                  <c:v>15.48</c:v>
                </c:pt>
                <c:pt idx="3">
                  <c:v>15.33</c:v>
                </c:pt>
                <c:pt idx="4">
                  <c:v>15.47</c:v>
                </c:pt>
                <c:pt idx="5">
                  <c:v>15.33</c:v>
                </c:pt>
                <c:pt idx="6">
                  <c:v>15.07</c:v>
                </c:pt>
                <c:pt idx="7">
                  <c:v>15.08</c:v>
                </c:pt>
                <c:pt idx="8">
                  <c:v>14.81</c:v>
                </c:pt>
                <c:pt idx="9">
                  <c:v>14.75</c:v>
                </c:pt>
                <c:pt idx="10">
                  <c:v>14.89</c:v>
                </c:pt>
                <c:pt idx="11">
                  <c:v>15.38</c:v>
                </c:pt>
                <c:pt idx="12">
                  <c:v>14.95</c:v>
                </c:pt>
                <c:pt idx="13">
                  <c:v>14.67</c:v>
                </c:pt>
                <c:pt idx="14">
                  <c:v>14.35</c:v>
                </c:pt>
                <c:pt idx="15">
                  <c:v>14.26</c:v>
                </c:pt>
                <c:pt idx="16">
                  <c:v>14.79</c:v>
                </c:pt>
                <c:pt idx="17">
                  <c:v>15.74</c:v>
                </c:pt>
                <c:pt idx="18">
                  <c:v>15.64</c:v>
                </c:pt>
                <c:pt idx="19">
                  <c:v>16.28</c:v>
                </c:pt>
                <c:pt idx="20">
                  <c:v>15.59</c:v>
                </c:pt>
                <c:pt idx="21">
                  <c:v>15.28</c:v>
                </c:pt>
                <c:pt idx="22">
                  <c:v>14.87</c:v>
                </c:pt>
                <c:pt idx="23">
                  <c:v>14.56</c:v>
                </c:pt>
                <c:pt idx="24">
                  <c:v>14.83</c:v>
                </c:pt>
                <c:pt idx="25">
                  <c:v>15.05</c:v>
                </c:pt>
                <c:pt idx="26">
                  <c:v>14.77</c:v>
                </c:pt>
                <c:pt idx="27">
                  <c:v>14.6</c:v>
                </c:pt>
                <c:pt idx="28">
                  <c:v>14.35</c:v>
                </c:pt>
                <c:pt idx="29">
                  <c:v>14.04</c:v>
                </c:pt>
                <c:pt idx="30">
                  <c:v>14.05</c:v>
                </c:pt>
                <c:pt idx="31">
                  <c:v>13.5</c:v>
                </c:pt>
                <c:pt idx="32">
                  <c:v>13.5</c:v>
                </c:pt>
                <c:pt idx="33">
                  <c:v>13.46</c:v>
                </c:pt>
                <c:pt idx="34">
                  <c:v>14.02</c:v>
                </c:pt>
                <c:pt idx="35">
                  <c:v>13.91</c:v>
                </c:pt>
                <c:pt idx="36">
                  <c:v>13.26</c:v>
                </c:pt>
                <c:pt idx="37">
                  <c:v>13.08</c:v>
                </c:pt>
                <c:pt idx="38">
                  <c:v>13.35</c:v>
                </c:pt>
                <c:pt idx="39">
                  <c:v>13.38</c:v>
                </c:pt>
                <c:pt idx="40">
                  <c:v>13.53</c:v>
                </c:pt>
                <c:pt idx="41">
                  <c:v>13.37</c:v>
                </c:pt>
                <c:pt idx="42">
                  <c:v>13.18</c:v>
                </c:pt>
                <c:pt idx="43">
                  <c:v>13.09</c:v>
                </c:pt>
                <c:pt idx="44">
                  <c:v>13.18</c:v>
                </c:pt>
                <c:pt idx="45">
                  <c:v>12.85</c:v>
                </c:pt>
                <c:pt idx="46">
                  <c:v>12.24</c:v>
                </c:pt>
                <c:pt idx="47">
                  <c:v>12.36</c:v>
                </c:pt>
                <c:pt idx="48">
                  <c:v>12.41</c:v>
                </c:pt>
                <c:pt idx="49">
                  <c:v>12.3</c:v>
                </c:pt>
                <c:pt idx="50">
                  <c:v>12.25</c:v>
                </c:pt>
                <c:pt idx="51">
                  <c:v>11.74</c:v>
                </c:pt>
                <c:pt idx="52">
                  <c:v>11.05</c:v>
                </c:pt>
                <c:pt idx="53">
                  <c:v>12.21</c:v>
                </c:pt>
                <c:pt idx="54">
                  <c:v>12.41</c:v>
                </c:pt>
                <c:pt idx="55">
                  <c:v>12.35</c:v>
                </c:pt>
                <c:pt idx="56">
                  <c:v>14.53</c:v>
                </c:pt>
                <c:pt idx="57">
                  <c:v>14.02</c:v>
                </c:pt>
                <c:pt idx="58">
                  <c:v>14.41</c:v>
                </c:pt>
                <c:pt idx="59">
                  <c:v>15.18</c:v>
                </c:pt>
                <c:pt idx="60">
                  <c:v>14.92</c:v>
                </c:pt>
                <c:pt idx="61">
                  <c:v>14.35</c:v>
                </c:pt>
                <c:pt idx="62">
                  <c:v>13.87</c:v>
                </c:pt>
                <c:pt idx="63">
                  <c:v>13.72</c:v>
                </c:pt>
                <c:pt idx="64">
                  <c:v>13.38</c:v>
                </c:pt>
                <c:pt idx="65">
                  <c:v>13.63</c:v>
                </c:pt>
                <c:pt idx="66">
                  <c:v>13.13</c:v>
                </c:pt>
                <c:pt idx="67">
                  <c:v>12.82</c:v>
                </c:pt>
                <c:pt idx="68">
                  <c:v>12.79</c:v>
                </c:pt>
                <c:pt idx="69">
                  <c:v>13.23</c:v>
                </c:pt>
                <c:pt idx="71">
                  <c:v>13.15</c:v>
                </c:pt>
                <c:pt idx="72">
                  <c:v>13.31</c:v>
                </c:pt>
                <c:pt idx="73">
                  <c:v>13.68</c:v>
                </c:pt>
                <c:pt idx="74">
                  <c:v>14.06</c:v>
                </c:pt>
                <c:pt idx="75">
                  <c:v>13.82</c:v>
                </c:pt>
                <c:pt idx="76">
                  <c:v>13.95</c:v>
                </c:pt>
                <c:pt idx="77">
                  <c:v>13.71</c:v>
                </c:pt>
                <c:pt idx="78">
                  <c:v>13.42</c:v>
                </c:pt>
                <c:pt idx="79">
                  <c:v>13.32</c:v>
                </c:pt>
                <c:pt idx="80">
                  <c:v>13.65</c:v>
                </c:pt>
                <c:pt idx="81">
                  <c:v>13.88</c:v>
                </c:pt>
                <c:pt idx="82">
                  <c:v>14.09</c:v>
                </c:pt>
                <c:pt idx="83">
                  <c:v>13.79</c:v>
                </c:pt>
                <c:pt idx="84">
                  <c:v>14.6</c:v>
                </c:pt>
                <c:pt idx="86">
                  <c:v>14.13</c:v>
                </c:pt>
                <c:pt idx="87">
                  <c:v>13.91</c:v>
                </c:pt>
                <c:pt idx="88">
                  <c:v>13.81</c:v>
                </c:pt>
                <c:pt idx="89">
                  <c:v>13.94</c:v>
                </c:pt>
                <c:pt idx="90">
                  <c:v>14.41</c:v>
                </c:pt>
                <c:pt idx="91">
                  <c:v>14.75</c:v>
                </c:pt>
                <c:pt idx="92">
                  <c:v>14.15</c:v>
                </c:pt>
                <c:pt idx="93">
                  <c:v>14.29</c:v>
                </c:pt>
                <c:pt idx="94">
                  <c:v>14.33</c:v>
                </c:pt>
                <c:pt idx="95">
                  <c:v>14.72</c:v>
                </c:pt>
                <c:pt idx="96">
                  <c:v>14.87</c:v>
                </c:pt>
                <c:pt idx="97">
                  <c:v>14.58</c:v>
                </c:pt>
                <c:pt idx="98">
                  <c:v>14.29</c:v>
                </c:pt>
                <c:pt idx="99">
                  <c:v>14.33</c:v>
                </c:pt>
                <c:pt idx="100">
                  <c:v>14.27</c:v>
                </c:pt>
                <c:pt idx="101">
                  <c:v>14.78</c:v>
                </c:pt>
                <c:pt idx="102">
                  <c:v>14.71</c:v>
                </c:pt>
                <c:pt idx="103">
                  <c:v>14.03</c:v>
                </c:pt>
                <c:pt idx="104">
                  <c:v>13.66</c:v>
                </c:pt>
                <c:pt idx="105">
                  <c:v>13.62</c:v>
                </c:pt>
                <c:pt idx="106">
                  <c:v>13.23</c:v>
                </c:pt>
                <c:pt idx="107">
                  <c:v>13.71</c:v>
                </c:pt>
                <c:pt idx="108">
                  <c:v>13.95</c:v>
                </c:pt>
                <c:pt idx="109">
                  <c:v>13.56</c:v>
                </c:pt>
                <c:pt idx="110">
                  <c:v>12.76</c:v>
                </c:pt>
                <c:pt idx="111">
                  <c:v>12.23</c:v>
                </c:pt>
                <c:pt idx="112">
                  <c:v>12.12</c:v>
                </c:pt>
                <c:pt idx="113">
                  <c:v>11.62</c:v>
                </c:pt>
                <c:pt idx="114">
                  <c:v>10.77</c:v>
                </c:pt>
                <c:pt idx="115">
                  <c:v>10.77</c:v>
                </c:pt>
                <c:pt idx="116">
                  <c:v>11.3</c:v>
                </c:pt>
                <c:pt idx="117">
                  <c:v>10.88</c:v>
                </c:pt>
                <c:pt idx="118">
                  <c:v>10.89</c:v>
                </c:pt>
                <c:pt idx="119">
                  <c:v>11.23</c:v>
                </c:pt>
                <c:pt idx="120">
                  <c:v>12.09</c:v>
                </c:pt>
                <c:pt idx="121">
                  <c:v>12.5</c:v>
                </c:pt>
                <c:pt idx="122">
                  <c:v>11.94</c:v>
                </c:pt>
                <c:pt idx="123">
                  <c:v>12.04</c:v>
                </c:pt>
                <c:pt idx="124">
                  <c:v>11.83</c:v>
                </c:pt>
                <c:pt idx="125">
                  <c:v>11.84</c:v>
                </c:pt>
                <c:pt idx="126">
                  <c:v>11.93</c:v>
                </c:pt>
                <c:pt idx="127">
                  <c:v>11.95</c:v>
                </c:pt>
                <c:pt idx="128">
                  <c:v>11.79</c:v>
                </c:pt>
                <c:pt idx="129">
                  <c:v>11.7</c:v>
                </c:pt>
                <c:pt idx="130">
                  <c:v>11.66</c:v>
                </c:pt>
                <c:pt idx="131">
                  <c:v>11.71</c:v>
                </c:pt>
                <c:pt idx="132">
                  <c:v>11.61</c:v>
                </c:pt>
                <c:pt idx="133">
                  <c:v>11.61</c:v>
                </c:pt>
                <c:pt idx="134">
                  <c:v>11.56</c:v>
                </c:pt>
                <c:pt idx="135">
                  <c:v>11.83</c:v>
                </c:pt>
                <c:pt idx="136">
                  <c:v>11.79</c:v>
                </c:pt>
                <c:pt idx="137">
                  <c:v>12.65</c:v>
                </c:pt>
                <c:pt idx="138">
                  <c:v>12.38</c:v>
                </c:pt>
                <c:pt idx="139">
                  <c:v>12.11</c:v>
                </c:pt>
                <c:pt idx="140">
                  <c:v>12.01</c:v>
                </c:pt>
                <c:pt idx="141">
                  <c:v>12.21</c:v>
                </c:pt>
                <c:pt idx="142">
                  <c:v>12.23</c:v>
                </c:pt>
                <c:pt idx="143">
                  <c:v>12.05</c:v>
                </c:pt>
                <c:pt idx="144">
                  <c:v>12.53</c:v>
                </c:pt>
                <c:pt idx="145">
                  <c:v>12.74</c:v>
                </c:pt>
                <c:pt idx="146">
                  <c:v>12.6</c:v>
                </c:pt>
                <c:pt idx="147">
                  <c:v>12.55</c:v>
                </c:pt>
                <c:pt idx="148">
                  <c:v>12.63</c:v>
                </c:pt>
                <c:pt idx="149">
                  <c:v>12.04</c:v>
                </c:pt>
                <c:pt idx="150">
                  <c:v>12.03</c:v>
                </c:pt>
                <c:pt idx="151">
                  <c:v>12.32</c:v>
                </c:pt>
                <c:pt idx="152">
                  <c:v>12.08</c:v>
                </c:pt>
                <c:pt idx="153">
                  <c:v>12.05</c:v>
                </c:pt>
                <c:pt idx="154">
                  <c:v>11.62</c:v>
                </c:pt>
                <c:pt idx="155">
                  <c:v>11.16</c:v>
                </c:pt>
                <c:pt idx="156">
                  <c:v>11.24</c:v>
                </c:pt>
                <c:pt idx="157">
                  <c:v>11.48</c:v>
                </c:pt>
                <c:pt idx="158">
                  <c:v>11.46</c:v>
                </c:pt>
                <c:pt idx="159">
                  <c:v>11.93</c:v>
                </c:pt>
                <c:pt idx="160">
                  <c:v>11.87</c:v>
                </c:pt>
                <c:pt idx="161">
                  <c:v>11.99</c:v>
                </c:pt>
                <c:pt idx="162">
                  <c:v>12.21</c:v>
                </c:pt>
                <c:pt idx="163">
                  <c:v>12.02</c:v>
                </c:pt>
                <c:pt idx="164">
                  <c:v>12.15</c:v>
                </c:pt>
                <c:pt idx="165">
                  <c:v>12.43</c:v>
                </c:pt>
                <c:pt idx="166">
                  <c:v>12.24</c:v>
                </c:pt>
                <c:pt idx="167">
                  <c:v>11.9</c:v>
                </c:pt>
                <c:pt idx="168">
                  <c:v>12.06</c:v>
                </c:pt>
                <c:pt idx="170">
                  <c:v>12.11</c:v>
                </c:pt>
                <c:pt idx="171">
                  <c:v>12.05</c:v>
                </c:pt>
                <c:pt idx="172">
                  <c:v>12.54</c:v>
                </c:pt>
                <c:pt idx="173">
                  <c:v>12.96</c:v>
                </c:pt>
                <c:pt idx="174">
                  <c:v>12.51</c:v>
                </c:pt>
                <c:pt idx="175">
                  <c:v>12.53</c:v>
                </c:pt>
                <c:pt idx="176">
                  <c:v>12.53</c:v>
                </c:pt>
                <c:pt idx="177">
                  <c:v>12.82</c:v>
                </c:pt>
                <c:pt idx="178">
                  <c:v>12.66</c:v>
                </c:pt>
                <c:pt idx="179">
                  <c:v>12.47</c:v>
                </c:pt>
                <c:pt idx="180">
                  <c:v>12.61</c:v>
                </c:pt>
                <c:pt idx="181">
                  <c:v>12.65</c:v>
                </c:pt>
                <c:pt idx="182">
                  <c:v>12.97</c:v>
                </c:pt>
                <c:pt idx="183">
                  <c:v>13.92</c:v>
                </c:pt>
                <c:pt idx="184">
                  <c:v>14.31</c:v>
                </c:pt>
                <c:pt idx="185">
                  <c:v>14.36</c:v>
                </c:pt>
                <c:pt idx="186">
                  <c:v>14.67</c:v>
                </c:pt>
                <c:pt idx="187">
                  <c:v>14.84</c:v>
                </c:pt>
                <c:pt idx="188">
                  <c:v>14.55</c:v>
                </c:pt>
                <c:pt idx="189">
                  <c:v>14.41</c:v>
                </c:pt>
                <c:pt idx="190">
                  <c:v>14.38</c:v>
                </c:pt>
                <c:pt idx="191">
                  <c:v>14.71</c:v>
                </c:pt>
                <c:pt idx="192">
                  <c:v>14.46</c:v>
                </c:pt>
                <c:pt idx="193">
                  <c:v>14.21</c:v>
                </c:pt>
                <c:pt idx="194">
                  <c:v>14.1</c:v>
                </c:pt>
                <c:pt idx="195">
                  <c:v>13.98</c:v>
                </c:pt>
                <c:pt idx="196">
                  <c:v>13.88</c:v>
                </c:pt>
                <c:pt idx="197">
                  <c:v>13.23</c:v>
                </c:pt>
                <c:pt idx="198">
                  <c:v>12.87</c:v>
                </c:pt>
                <c:pt idx="199">
                  <c:v>13.18</c:v>
                </c:pt>
                <c:pt idx="200">
                  <c:v>12.73</c:v>
                </c:pt>
                <c:pt idx="201">
                  <c:v>12.26</c:v>
                </c:pt>
                <c:pt idx="202">
                  <c:v>11.98</c:v>
                </c:pt>
                <c:pt idx="203">
                  <c:v>12.11</c:v>
                </c:pt>
                <c:pt idx="204">
                  <c:v>11.6</c:v>
                </c:pt>
                <c:pt idx="205">
                  <c:v>11.29</c:v>
                </c:pt>
                <c:pt idx="206">
                  <c:v>11.94</c:v>
                </c:pt>
                <c:pt idx="207">
                  <c:v>11.68</c:v>
                </c:pt>
                <c:pt idx="208">
                  <c:v>12.18</c:v>
                </c:pt>
                <c:pt idx="209">
                  <c:v>12.74</c:v>
                </c:pt>
                <c:pt idx="210">
                  <c:v>12.46</c:v>
                </c:pt>
                <c:pt idx="211">
                  <c:v>12.26</c:v>
                </c:pt>
                <c:pt idx="212">
                  <c:v>12.31</c:v>
                </c:pt>
                <c:pt idx="213">
                  <c:v>12</c:v>
                </c:pt>
                <c:pt idx="214">
                  <c:v>12.43</c:v>
                </c:pt>
                <c:pt idx="215">
                  <c:v>11.93</c:v>
                </c:pt>
                <c:pt idx="216">
                  <c:v>11.88</c:v>
                </c:pt>
                <c:pt idx="217">
                  <c:v>11.73</c:v>
                </c:pt>
                <c:pt idx="218">
                  <c:v>11.51</c:v>
                </c:pt>
                <c:pt idx="219">
                  <c:v>11.15</c:v>
                </c:pt>
                <c:pt idx="220">
                  <c:v>11.18</c:v>
                </c:pt>
                <c:pt idx="221">
                  <c:v>11.45</c:v>
                </c:pt>
                <c:pt idx="222">
                  <c:v>11.56</c:v>
                </c:pt>
                <c:pt idx="223">
                  <c:v>11.46</c:v>
                </c:pt>
                <c:pt idx="224">
                  <c:v>11.1</c:v>
                </c:pt>
                <c:pt idx="225">
                  <c:v>10.62</c:v>
                </c:pt>
                <c:pt idx="226">
                  <c:v>10.25</c:v>
                </c:pt>
                <c:pt idx="227">
                  <c:v>10.45</c:v>
                </c:pt>
                <c:pt idx="228">
                  <c:v>10.4</c:v>
                </c:pt>
                <c:pt idx="229">
                  <c:v>10.54</c:v>
                </c:pt>
                <c:pt idx="230">
                  <c:v>10.58</c:v>
                </c:pt>
                <c:pt idx="231">
                  <c:v>10.51</c:v>
                </c:pt>
                <c:pt idx="232">
                  <c:v>10.41</c:v>
                </c:pt>
                <c:pt idx="233">
                  <c:v>10.77</c:v>
                </c:pt>
                <c:pt idx="234">
                  <c:v>9.91</c:v>
                </c:pt>
                <c:pt idx="235">
                  <c:v>9.8699999999999992</c:v>
                </c:pt>
                <c:pt idx="236">
                  <c:v>9.7100000000000009</c:v>
                </c:pt>
                <c:pt idx="237">
                  <c:v>10.050000000000001</c:v>
                </c:pt>
                <c:pt idx="238">
                  <c:v>9.73</c:v>
                </c:pt>
                <c:pt idx="239">
                  <c:v>9.6999999999999993</c:v>
                </c:pt>
                <c:pt idx="240">
                  <c:v>9.68</c:v>
                </c:pt>
                <c:pt idx="241">
                  <c:v>9.4600000000000009</c:v>
                </c:pt>
                <c:pt idx="242">
                  <c:v>9.1</c:v>
                </c:pt>
                <c:pt idx="243">
                  <c:v>9.26</c:v>
                </c:pt>
                <c:pt idx="244">
                  <c:v>9.4499999999999993</c:v>
                </c:pt>
                <c:pt idx="245">
                  <c:v>9.57</c:v>
                </c:pt>
                <c:pt idx="246">
                  <c:v>10.87</c:v>
                </c:pt>
                <c:pt idx="247">
                  <c:v>9.92</c:v>
                </c:pt>
                <c:pt idx="248">
                  <c:v>9.6199999999999992</c:v>
                </c:pt>
                <c:pt idx="249">
                  <c:v>9.4499999999999993</c:v>
                </c:pt>
                <c:pt idx="250">
                  <c:v>9.83</c:v>
                </c:pt>
                <c:pt idx="251">
                  <c:v>9.91</c:v>
                </c:pt>
                <c:pt idx="252">
                  <c:v>9.91</c:v>
                </c:pt>
                <c:pt idx="254">
                  <c:v>10.23</c:v>
                </c:pt>
                <c:pt idx="255">
                  <c:v>10.45</c:v>
                </c:pt>
                <c:pt idx="256">
                  <c:v>10.54</c:v>
                </c:pt>
                <c:pt idx="257">
                  <c:v>10.94</c:v>
                </c:pt>
                <c:pt idx="258">
                  <c:v>10.3</c:v>
                </c:pt>
                <c:pt idx="259">
                  <c:v>10.67</c:v>
                </c:pt>
                <c:pt idx="260">
                  <c:v>11.08</c:v>
                </c:pt>
                <c:pt idx="261">
                  <c:v>11.7</c:v>
                </c:pt>
                <c:pt idx="262">
                  <c:v>12.07</c:v>
                </c:pt>
                <c:pt idx="263">
                  <c:v>11.78</c:v>
                </c:pt>
                <c:pt idx="264">
                  <c:v>10.9</c:v>
                </c:pt>
                <c:pt idx="265">
                  <c:v>11.1</c:v>
                </c:pt>
                <c:pt idx="266">
                  <c:v>10.97</c:v>
                </c:pt>
                <c:pt idx="267">
                  <c:v>10.81</c:v>
                </c:pt>
                <c:pt idx="268">
                  <c:v>11.19</c:v>
                </c:pt>
                <c:pt idx="269">
                  <c:v>10.85</c:v>
                </c:pt>
                <c:pt idx="270">
                  <c:v>11.14</c:v>
                </c:pt>
                <c:pt idx="271">
                  <c:v>11.23</c:v>
                </c:pt>
                <c:pt idx="272">
                  <c:v>11.21</c:v>
                </c:pt>
                <c:pt idx="273">
                  <c:v>10.84</c:v>
                </c:pt>
                <c:pt idx="274">
                  <c:v>11.03</c:v>
                </c:pt>
                <c:pt idx="275">
                  <c:v>11.14</c:v>
                </c:pt>
                <c:pt idx="276">
                  <c:v>11.34</c:v>
                </c:pt>
                <c:pt idx="277">
                  <c:v>10.81</c:v>
                </c:pt>
                <c:pt idx="278">
                  <c:v>10.39</c:v>
                </c:pt>
                <c:pt idx="279">
                  <c:v>10.78</c:v>
                </c:pt>
                <c:pt idx="280">
                  <c:v>10.42</c:v>
                </c:pt>
                <c:pt idx="281">
                  <c:v>10.18</c:v>
                </c:pt>
                <c:pt idx="282">
                  <c:v>9.9700000000000006</c:v>
                </c:pt>
                <c:pt idx="283">
                  <c:v>9.77</c:v>
                </c:pt>
                <c:pt idx="284">
                  <c:v>9.8800000000000008</c:v>
                </c:pt>
                <c:pt idx="285">
                  <c:v>9.82</c:v>
                </c:pt>
                <c:pt idx="286">
                  <c:v>9.9700000000000006</c:v>
                </c:pt>
                <c:pt idx="287">
                  <c:v>9.98</c:v>
                </c:pt>
                <c:pt idx="288">
                  <c:v>10.09</c:v>
                </c:pt>
                <c:pt idx="289">
                  <c:v>9.93</c:v>
                </c:pt>
                <c:pt idx="290">
                  <c:v>10.29</c:v>
                </c:pt>
                <c:pt idx="291">
                  <c:v>10.24</c:v>
                </c:pt>
                <c:pt idx="292">
                  <c:v>10.58</c:v>
                </c:pt>
                <c:pt idx="293">
                  <c:v>10.64</c:v>
                </c:pt>
                <c:pt idx="294">
                  <c:v>10.84</c:v>
                </c:pt>
                <c:pt idx="295">
                  <c:v>10.58</c:v>
                </c:pt>
                <c:pt idx="296">
                  <c:v>10.52</c:v>
                </c:pt>
                <c:pt idx="297">
                  <c:v>10.41</c:v>
                </c:pt>
                <c:pt idx="298">
                  <c:v>10.81</c:v>
                </c:pt>
                <c:pt idx="299">
                  <c:v>11.2</c:v>
                </c:pt>
                <c:pt idx="300">
                  <c:v>11.02</c:v>
                </c:pt>
                <c:pt idx="301">
                  <c:v>11.49</c:v>
                </c:pt>
                <c:pt idx="302">
                  <c:v>11.25</c:v>
                </c:pt>
                <c:pt idx="303">
                  <c:v>11.46</c:v>
                </c:pt>
                <c:pt idx="304">
                  <c:v>11.86</c:v>
                </c:pt>
                <c:pt idx="305">
                  <c:v>12.3</c:v>
                </c:pt>
                <c:pt idx="306">
                  <c:v>12.17</c:v>
                </c:pt>
                <c:pt idx="307">
                  <c:v>12.11</c:v>
                </c:pt>
                <c:pt idx="308">
                  <c:v>12.95</c:v>
                </c:pt>
                <c:pt idx="309">
                  <c:v>13.35</c:v>
                </c:pt>
                <c:pt idx="310">
                  <c:v>13.15</c:v>
                </c:pt>
                <c:pt idx="311">
                  <c:v>13.37</c:v>
                </c:pt>
                <c:pt idx="312">
                  <c:v>13.64</c:v>
                </c:pt>
                <c:pt idx="313">
                  <c:v>13.37</c:v>
                </c:pt>
                <c:pt idx="314">
                  <c:v>13.5</c:v>
                </c:pt>
                <c:pt idx="315">
                  <c:v>13.97</c:v>
                </c:pt>
                <c:pt idx="316">
                  <c:v>14.34</c:v>
                </c:pt>
                <c:pt idx="317">
                  <c:v>14.5</c:v>
                </c:pt>
                <c:pt idx="318">
                  <c:v>15.02</c:v>
                </c:pt>
                <c:pt idx="319">
                  <c:v>14.6</c:v>
                </c:pt>
                <c:pt idx="321">
                  <c:v>14.53</c:v>
                </c:pt>
                <c:pt idx="322">
                  <c:v>14.14</c:v>
                </c:pt>
                <c:pt idx="323">
                  <c:v>13.72</c:v>
                </c:pt>
                <c:pt idx="324">
                  <c:v>14.11</c:v>
                </c:pt>
                <c:pt idx="325">
                  <c:v>14.23</c:v>
                </c:pt>
                <c:pt idx="326">
                  <c:v>14.68</c:v>
                </c:pt>
                <c:pt idx="327">
                  <c:v>14.45</c:v>
                </c:pt>
                <c:pt idx="328">
                  <c:v>14.82</c:v>
                </c:pt>
                <c:pt idx="329">
                  <c:v>15.34</c:v>
                </c:pt>
                <c:pt idx="330">
                  <c:v>16.010000000000002</c:v>
                </c:pt>
                <c:pt idx="331">
                  <c:v>16.04</c:v>
                </c:pt>
                <c:pt idx="332">
                  <c:v>15.96</c:v>
                </c:pt>
                <c:pt idx="333">
                  <c:v>16.29</c:v>
                </c:pt>
                <c:pt idx="334">
                  <c:v>16.07</c:v>
                </c:pt>
                <c:pt idx="335">
                  <c:v>15.63</c:v>
                </c:pt>
                <c:pt idx="336">
                  <c:v>15.91</c:v>
                </c:pt>
                <c:pt idx="337">
                  <c:v>16.38</c:v>
                </c:pt>
                <c:pt idx="338">
                  <c:v>16.53</c:v>
                </c:pt>
                <c:pt idx="339">
                  <c:v>16.45</c:v>
                </c:pt>
                <c:pt idx="341">
                  <c:v>16.98</c:v>
                </c:pt>
                <c:pt idx="342">
                  <c:v>16.850000000000001</c:v>
                </c:pt>
                <c:pt idx="343">
                  <c:v>16.440000000000001</c:v>
                </c:pt>
                <c:pt idx="344">
                  <c:v>15.66</c:v>
                </c:pt>
                <c:pt idx="345">
                  <c:v>15.72</c:v>
                </c:pt>
                <c:pt idx="346">
                  <c:v>15.23</c:v>
                </c:pt>
                <c:pt idx="347">
                  <c:v>14.74</c:v>
                </c:pt>
                <c:pt idx="348">
                  <c:v>15.21</c:v>
                </c:pt>
                <c:pt idx="349">
                  <c:v>15.18</c:v>
                </c:pt>
                <c:pt idx="350">
                  <c:v>14.98</c:v>
                </c:pt>
                <c:pt idx="351">
                  <c:v>14.43</c:v>
                </c:pt>
                <c:pt idx="352">
                  <c:v>14.42</c:v>
                </c:pt>
                <c:pt idx="353">
                  <c:v>14.44</c:v>
                </c:pt>
                <c:pt idx="354">
                  <c:v>14.49</c:v>
                </c:pt>
                <c:pt idx="355">
                  <c:v>14.83</c:v>
                </c:pt>
                <c:pt idx="356">
                  <c:v>14.71</c:v>
                </c:pt>
                <c:pt idx="357">
                  <c:v>15.18</c:v>
                </c:pt>
                <c:pt idx="358">
                  <c:v>15.04</c:v>
                </c:pt>
                <c:pt idx="359">
                  <c:v>14.75</c:v>
                </c:pt>
                <c:pt idx="360">
                  <c:v>14.22</c:v>
                </c:pt>
                <c:pt idx="361">
                  <c:v>14.28</c:v>
                </c:pt>
                <c:pt idx="362">
                  <c:v>14.26</c:v>
                </c:pt>
                <c:pt idx="363">
                  <c:v>15.21</c:v>
                </c:pt>
                <c:pt idx="364">
                  <c:v>15.98</c:v>
                </c:pt>
                <c:pt idx="365">
                  <c:v>16.25</c:v>
                </c:pt>
                <c:pt idx="366">
                  <c:v>16.190000000000001</c:v>
                </c:pt>
                <c:pt idx="367">
                  <c:v>15.99</c:v>
                </c:pt>
                <c:pt idx="368">
                  <c:v>16.25</c:v>
                </c:pt>
                <c:pt idx="369">
                  <c:v>16.05</c:v>
                </c:pt>
                <c:pt idx="370">
                  <c:v>16.329999999999998</c:v>
                </c:pt>
                <c:pt idx="371">
                  <c:v>16.29</c:v>
                </c:pt>
                <c:pt idx="372">
                  <c:v>16</c:v>
                </c:pt>
                <c:pt idx="373">
                  <c:v>15.93</c:v>
                </c:pt>
                <c:pt idx="374">
                  <c:v>15.64</c:v>
                </c:pt>
                <c:pt idx="375">
                  <c:v>15.91</c:v>
                </c:pt>
                <c:pt idx="376">
                  <c:v>16.04</c:v>
                </c:pt>
                <c:pt idx="377">
                  <c:v>16.28</c:v>
                </c:pt>
                <c:pt idx="378">
                  <c:v>16.27</c:v>
                </c:pt>
                <c:pt idx="379">
                  <c:v>16.27</c:v>
                </c:pt>
                <c:pt idx="380">
                  <c:v>16.38</c:v>
                </c:pt>
                <c:pt idx="381">
                  <c:v>16.97</c:v>
                </c:pt>
                <c:pt idx="382">
                  <c:v>17.25</c:v>
                </c:pt>
                <c:pt idx="383">
                  <c:v>17.55</c:v>
                </c:pt>
                <c:pt idx="384">
                  <c:v>18.47</c:v>
                </c:pt>
                <c:pt idx="385">
                  <c:v>18.36</c:v>
                </c:pt>
                <c:pt idx="386">
                  <c:v>18.739999999999998</c:v>
                </c:pt>
                <c:pt idx="387">
                  <c:v>18.899999999999999</c:v>
                </c:pt>
                <c:pt idx="388">
                  <c:v>18.940000000000001</c:v>
                </c:pt>
                <c:pt idx="389">
                  <c:v>19.489999999999998</c:v>
                </c:pt>
                <c:pt idx="390">
                  <c:v>19.48</c:v>
                </c:pt>
                <c:pt idx="391">
                  <c:v>18.899999999999999</c:v>
                </c:pt>
                <c:pt idx="392">
                  <c:v>19.420000000000002</c:v>
                </c:pt>
                <c:pt idx="393">
                  <c:v>19.75</c:v>
                </c:pt>
                <c:pt idx="394">
                  <c:v>19.329999999999998</c:v>
                </c:pt>
                <c:pt idx="395">
                  <c:v>18.62</c:v>
                </c:pt>
                <c:pt idx="396">
                  <c:v>19.010000000000002</c:v>
                </c:pt>
                <c:pt idx="397">
                  <c:v>19.690000000000001</c:v>
                </c:pt>
                <c:pt idx="398">
                  <c:v>19.73</c:v>
                </c:pt>
                <c:pt idx="399">
                  <c:v>19.46</c:v>
                </c:pt>
                <c:pt idx="400">
                  <c:v>19.649999999999999</c:v>
                </c:pt>
                <c:pt idx="401">
                  <c:v>19.97</c:v>
                </c:pt>
                <c:pt idx="402">
                  <c:v>19.97</c:v>
                </c:pt>
                <c:pt idx="403">
                  <c:v>19.21</c:v>
                </c:pt>
                <c:pt idx="404">
                  <c:v>19.32</c:v>
                </c:pt>
                <c:pt idx="405">
                  <c:v>19.38</c:v>
                </c:pt>
                <c:pt idx="406">
                  <c:v>19.64</c:v>
                </c:pt>
                <c:pt idx="407">
                  <c:v>19.66</c:v>
                </c:pt>
                <c:pt idx="408">
                  <c:v>19.34</c:v>
                </c:pt>
                <c:pt idx="409">
                  <c:v>20.18</c:v>
                </c:pt>
                <c:pt idx="410">
                  <c:v>20.58</c:v>
                </c:pt>
                <c:pt idx="411">
                  <c:v>20.32</c:v>
                </c:pt>
                <c:pt idx="412">
                  <c:v>20.61</c:v>
                </c:pt>
                <c:pt idx="413">
                  <c:v>20.68</c:v>
                </c:pt>
                <c:pt idx="414">
                  <c:v>20.61</c:v>
                </c:pt>
                <c:pt idx="415">
                  <c:v>20.69</c:v>
                </c:pt>
                <c:pt idx="416">
                  <c:v>20.92</c:v>
                </c:pt>
                <c:pt idx="417">
                  <c:v>21.11</c:v>
                </c:pt>
                <c:pt idx="418">
                  <c:v>20.96</c:v>
                </c:pt>
                <c:pt idx="419">
                  <c:v>20.48</c:v>
                </c:pt>
                <c:pt idx="420">
                  <c:v>19.71</c:v>
                </c:pt>
                <c:pt idx="421">
                  <c:v>19.8</c:v>
                </c:pt>
                <c:pt idx="422">
                  <c:v>20.32</c:v>
                </c:pt>
                <c:pt idx="424">
                  <c:v>21.08</c:v>
                </c:pt>
                <c:pt idx="425">
                  <c:v>21.1</c:v>
                </c:pt>
                <c:pt idx="426">
                  <c:v>20.66</c:v>
                </c:pt>
                <c:pt idx="427">
                  <c:v>20.74</c:v>
                </c:pt>
                <c:pt idx="428">
                  <c:v>21.14</c:v>
                </c:pt>
                <c:pt idx="429">
                  <c:v>21.71</c:v>
                </c:pt>
                <c:pt idx="430">
                  <c:v>21.96</c:v>
                </c:pt>
                <c:pt idx="431">
                  <c:v>22.51</c:v>
                </c:pt>
                <c:pt idx="432">
                  <c:v>22.36</c:v>
                </c:pt>
                <c:pt idx="433">
                  <c:v>22.98</c:v>
                </c:pt>
                <c:pt idx="434">
                  <c:v>23.18</c:v>
                </c:pt>
                <c:pt idx="435">
                  <c:v>23.25</c:v>
                </c:pt>
                <c:pt idx="436">
                  <c:v>23.06</c:v>
                </c:pt>
                <c:pt idx="437">
                  <c:v>22.93</c:v>
                </c:pt>
                <c:pt idx="438">
                  <c:v>22.85</c:v>
                </c:pt>
                <c:pt idx="439">
                  <c:v>22.68</c:v>
                </c:pt>
                <c:pt idx="440">
                  <c:v>22.49</c:v>
                </c:pt>
                <c:pt idx="441">
                  <c:v>23.41</c:v>
                </c:pt>
                <c:pt idx="442">
                  <c:v>23.66</c:v>
                </c:pt>
                <c:pt idx="443">
                  <c:v>23.6</c:v>
                </c:pt>
                <c:pt idx="444">
                  <c:v>23.24</c:v>
                </c:pt>
                <c:pt idx="445">
                  <c:v>23.46</c:v>
                </c:pt>
                <c:pt idx="446">
                  <c:v>22.98</c:v>
                </c:pt>
                <c:pt idx="447">
                  <c:v>22.98</c:v>
                </c:pt>
                <c:pt idx="448">
                  <c:v>23.3</c:v>
                </c:pt>
                <c:pt idx="449">
                  <c:v>22.64</c:v>
                </c:pt>
                <c:pt idx="450">
                  <c:v>23.07</c:v>
                </c:pt>
                <c:pt idx="451">
                  <c:v>22.33</c:v>
                </c:pt>
                <c:pt idx="452">
                  <c:v>20.78</c:v>
                </c:pt>
                <c:pt idx="453">
                  <c:v>20.84</c:v>
                </c:pt>
                <c:pt idx="454">
                  <c:v>21.89</c:v>
                </c:pt>
                <c:pt idx="455">
                  <c:v>22.26</c:v>
                </c:pt>
                <c:pt idx="456">
                  <c:v>22.28</c:v>
                </c:pt>
                <c:pt idx="457">
                  <c:v>21.65</c:v>
                </c:pt>
                <c:pt idx="458">
                  <c:v>22.26</c:v>
                </c:pt>
                <c:pt idx="459">
                  <c:v>21.59</c:v>
                </c:pt>
                <c:pt idx="460">
                  <c:v>21.02</c:v>
                </c:pt>
                <c:pt idx="461">
                  <c:v>21.68</c:v>
                </c:pt>
                <c:pt idx="462">
                  <c:v>22.38</c:v>
                </c:pt>
                <c:pt idx="463">
                  <c:v>22.45</c:v>
                </c:pt>
                <c:pt idx="464">
                  <c:v>22.14</c:v>
                </c:pt>
                <c:pt idx="465">
                  <c:v>22.18</c:v>
                </c:pt>
                <c:pt idx="466">
                  <c:v>21.22</c:v>
                </c:pt>
                <c:pt idx="467">
                  <c:v>21.11</c:v>
                </c:pt>
                <c:pt idx="468">
                  <c:v>21.32</c:v>
                </c:pt>
                <c:pt idx="469">
                  <c:v>21.98</c:v>
                </c:pt>
                <c:pt idx="470">
                  <c:v>22.38</c:v>
                </c:pt>
                <c:pt idx="471">
                  <c:v>22.64</c:v>
                </c:pt>
                <c:pt idx="472">
                  <c:v>22.8</c:v>
                </c:pt>
                <c:pt idx="473">
                  <c:v>23.62</c:v>
                </c:pt>
                <c:pt idx="474">
                  <c:v>24.44</c:v>
                </c:pt>
                <c:pt idx="475">
                  <c:v>25.42</c:v>
                </c:pt>
                <c:pt idx="476">
                  <c:v>24.96</c:v>
                </c:pt>
                <c:pt idx="477">
                  <c:v>25.39</c:v>
                </c:pt>
                <c:pt idx="478">
                  <c:v>25.93</c:v>
                </c:pt>
                <c:pt idx="479">
                  <c:v>24.88</c:v>
                </c:pt>
                <c:pt idx="480">
                  <c:v>24.98</c:v>
                </c:pt>
                <c:pt idx="481">
                  <c:v>25.02</c:v>
                </c:pt>
                <c:pt idx="482">
                  <c:v>25.14</c:v>
                </c:pt>
                <c:pt idx="483">
                  <c:v>25.86</c:v>
                </c:pt>
                <c:pt idx="484">
                  <c:v>25.66</c:v>
                </c:pt>
                <c:pt idx="485">
                  <c:v>25.77</c:v>
                </c:pt>
                <c:pt idx="486">
                  <c:v>25.94</c:v>
                </c:pt>
                <c:pt idx="487">
                  <c:v>25.85</c:v>
                </c:pt>
                <c:pt idx="488">
                  <c:v>25.67</c:v>
                </c:pt>
                <c:pt idx="489">
                  <c:v>25.2</c:v>
                </c:pt>
                <c:pt idx="490">
                  <c:v>24.2</c:v>
                </c:pt>
                <c:pt idx="491">
                  <c:v>25.52</c:v>
                </c:pt>
                <c:pt idx="492">
                  <c:v>26.17</c:v>
                </c:pt>
                <c:pt idx="493">
                  <c:v>26.46</c:v>
                </c:pt>
                <c:pt idx="494">
                  <c:v>26.1</c:v>
                </c:pt>
                <c:pt idx="495">
                  <c:v>25.45</c:v>
                </c:pt>
                <c:pt idx="496">
                  <c:v>25.85</c:v>
                </c:pt>
                <c:pt idx="497">
                  <c:v>24.86</c:v>
                </c:pt>
                <c:pt idx="498">
                  <c:v>24.31</c:v>
                </c:pt>
                <c:pt idx="499">
                  <c:v>24.88</c:v>
                </c:pt>
                <c:pt idx="500">
                  <c:v>25.68</c:v>
                </c:pt>
                <c:pt idx="501">
                  <c:v>26.09</c:v>
                </c:pt>
                <c:pt idx="502">
                  <c:v>26.22</c:v>
                </c:pt>
                <c:pt idx="503">
                  <c:v>25.98</c:v>
                </c:pt>
                <c:pt idx="504">
                  <c:v>25.51</c:v>
                </c:pt>
                <c:pt idx="505">
                  <c:v>25.04</c:v>
                </c:pt>
                <c:pt idx="506">
                  <c:v>25.11</c:v>
                </c:pt>
                <c:pt idx="509">
                  <c:v>25.63</c:v>
                </c:pt>
                <c:pt idx="510">
                  <c:v>24.93</c:v>
                </c:pt>
                <c:pt idx="511">
                  <c:v>23.95</c:v>
                </c:pt>
                <c:pt idx="512">
                  <c:v>23.72</c:v>
                </c:pt>
                <c:pt idx="513">
                  <c:v>23.55</c:v>
                </c:pt>
                <c:pt idx="514">
                  <c:v>23.35</c:v>
                </c:pt>
                <c:pt idx="515">
                  <c:v>22.77</c:v>
                </c:pt>
                <c:pt idx="516">
                  <c:v>23.93</c:v>
                </c:pt>
                <c:pt idx="517">
                  <c:v>24.62</c:v>
                </c:pt>
                <c:pt idx="518">
                  <c:v>24.9</c:v>
                </c:pt>
                <c:pt idx="519">
                  <c:v>25.5</c:v>
                </c:pt>
                <c:pt idx="520">
                  <c:v>25.99</c:v>
                </c:pt>
                <c:pt idx="521">
                  <c:v>26.31</c:v>
                </c:pt>
                <c:pt idx="522">
                  <c:v>26.17</c:v>
                </c:pt>
                <c:pt idx="523">
                  <c:v>26.26</c:v>
                </c:pt>
                <c:pt idx="524">
                  <c:v>27.18</c:v>
                </c:pt>
                <c:pt idx="525">
                  <c:v>27.02</c:v>
                </c:pt>
                <c:pt idx="526">
                  <c:v>27.24</c:v>
                </c:pt>
                <c:pt idx="527">
                  <c:v>27.18</c:v>
                </c:pt>
                <c:pt idx="528">
                  <c:v>26.91</c:v>
                </c:pt>
                <c:pt idx="529">
                  <c:v>26.59</c:v>
                </c:pt>
                <c:pt idx="530">
                  <c:v>27.08</c:v>
                </c:pt>
                <c:pt idx="531">
                  <c:v>27.35</c:v>
                </c:pt>
                <c:pt idx="532">
                  <c:v>27.15</c:v>
                </c:pt>
                <c:pt idx="533">
                  <c:v>27.6</c:v>
                </c:pt>
                <c:pt idx="534">
                  <c:v>27.48</c:v>
                </c:pt>
                <c:pt idx="535">
                  <c:v>27.94</c:v>
                </c:pt>
                <c:pt idx="536">
                  <c:v>27.61</c:v>
                </c:pt>
                <c:pt idx="537">
                  <c:v>27.44</c:v>
                </c:pt>
                <c:pt idx="538">
                  <c:v>27.32</c:v>
                </c:pt>
                <c:pt idx="539">
                  <c:v>27.82</c:v>
                </c:pt>
                <c:pt idx="540">
                  <c:v>28.03</c:v>
                </c:pt>
                <c:pt idx="541">
                  <c:v>28.12</c:v>
                </c:pt>
                <c:pt idx="542">
                  <c:v>28.11</c:v>
                </c:pt>
                <c:pt idx="543">
                  <c:v>27.54</c:v>
                </c:pt>
                <c:pt idx="544">
                  <c:v>27.26</c:v>
                </c:pt>
                <c:pt idx="545">
                  <c:v>26.93</c:v>
                </c:pt>
                <c:pt idx="546">
                  <c:v>27.22</c:v>
                </c:pt>
                <c:pt idx="547">
                  <c:v>27.92</c:v>
                </c:pt>
                <c:pt idx="548">
                  <c:v>28.21</c:v>
                </c:pt>
                <c:pt idx="549">
                  <c:v>28.53</c:v>
                </c:pt>
                <c:pt idx="550">
                  <c:v>28.7</c:v>
                </c:pt>
                <c:pt idx="551">
                  <c:v>29.01</c:v>
                </c:pt>
                <c:pt idx="552">
                  <c:v>29.78</c:v>
                </c:pt>
                <c:pt idx="553">
                  <c:v>30.12</c:v>
                </c:pt>
                <c:pt idx="554">
                  <c:v>29.83</c:v>
                </c:pt>
                <c:pt idx="555">
                  <c:v>30.08</c:v>
                </c:pt>
                <c:pt idx="556">
                  <c:v>31.93</c:v>
                </c:pt>
                <c:pt idx="557">
                  <c:v>31.41</c:v>
                </c:pt>
                <c:pt idx="558">
                  <c:v>29.11</c:v>
                </c:pt>
                <c:pt idx="559">
                  <c:v>28.97</c:v>
                </c:pt>
                <c:pt idx="560">
                  <c:v>29.25</c:v>
                </c:pt>
                <c:pt idx="561">
                  <c:v>28.83</c:v>
                </c:pt>
                <c:pt idx="562">
                  <c:v>28.03</c:v>
                </c:pt>
                <c:pt idx="563">
                  <c:v>27.97</c:v>
                </c:pt>
                <c:pt idx="564">
                  <c:v>27.87</c:v>
                </c:pt>
                <c:pt idx="565">
                  <c:v>25.59</c:v>
                </c:pt>
                <c:pt idx="566">
                  <c:v>24.93</c:v>
                </c:pt>
                <c:pt idx="567">
                  <c:v>25.77</c:v>
                </c:pt>
                <c:pt idx="568">
                  <c:v>25.32</c:v>
                </c:pt>
                <c:pt idx="569">
                  <c:v>25.74</c:v>
                </c:pt>
                <c:pt idx="570">
                  <c:v>25.16</c:v>
                </c:pt>
                <c:pt idx="571">
                  <c:v>24.8</c:v>
                </c:pt>
                <c:pt idx="572">
                  <c:v>23.77</c:v>
                </c:pt>
                <c:pt idx="573">
                  <c:v>23.94</c:v>
                </c:pt>
                <c:pt idx="574">
                  <c:v>23.98</c:v>
                </c:pt>
                <c:pt idx="575">
                  <c:v>24.62</c:v>
                </c:pt>
                <c:pt idx="576">
                  <c:v>23.26</c:v>
                </c:pt>
                <c:pt idx="577">
                  <c:v>22.98</c:v>
                </c:pt>
                <c:pt idx="578">
                  <c:v>22.9</c:v>
                </c:pt>
                <c:pt idx="579">
                  <c:v>22.63</c:v>
                </c:pt>
                <c:pt idx="580">
                  <c:v>21.08</c:v>
                </c:pt>
                <c:pt idx="581">
                  <c:v>21.05</c:v>
                </c:pt>
                <c:pt idx="582">
                  <c:v>21.4</c:v>
                </c:pt>
                <c:pt idx="583">
                  <c:v>22.65</c:v>
                </c:pt>
                <c:pt idx="584">
                  <c:v>22.13</c:v>
                </c:pt>
                <c:pt idx="585">
                  <c:v>22.2</c:v>
                </c:pt>
                <c:pt idx="586">
                  <c:v>22.67</c:v>
                </c:pt>
                <c:pt idx="587">
                  <c:v>23.5</c:v>
                </c:pt>
                <c:pt idx="588">
                  <c:v>23.57</c:v>
                </c:pt>
                <c:pt idx="590">
                  <c:v>23.36</c:v>
                </c:pt>
                <c:pt idx="591">
                  <c:v>22.9</c:v>
                </c:pt>
                <c:pt idx="592">
                  <c:v>23.07</c:v>
                </c:pt>
                <c:pt idx="593">
                  <c:v>23.79</c:v>
                </c:pt>
                <c:pt idx="595">
                  <c:v>24.73</c:v>
                </c:pt>
                <c:pt idx="596">
                  <c:v>25.13</c:v>
                </c:pt>
                <c:pt idx="597">
                  <c:v>25.06</c:v>
                </c:pt>
                <c:pt idx="598">
                  <c:v>24.93</c:v>
                </c:pt>
                <c:pt idx="599">
                  <c:v>26.03</c:v>
                </c:pt>
                <c:pt idx="600">
                  <c:v>26.69</c:v>
                </c:pt>
                <c:pt idx="601">
                  <c:v>26.59</c:v>
                </c:pt>
                <c:pt idx="602">
                  <c:v>27.22</c:v>
                </c:pt>
                <c:pt idx="603">
                  <c:v>27.98</c:v>
                </c:pt>
                <c:pt idx="604">
                  <c:v>28.26</c:v>
                </c:pt>
                <c:pt idx="605">
                  <c:v>28.78</c:v>
                </c:pt>
                <c:pt idx="606">
                  <c:v>28.4</c:v>
                </c:pt>
                <c:pt idx="607">
                  <c:v>28.9</c:v>
                </c:pt>
                <c:pt idx="608">
                  <c:v>29.01</c:v>
                </c:pt>
                <c:pt idx="609">
                  <c:v>28.45</c:v>
                </c:pt>
                <c:pt idx="610">
                  <c:v>28.12</c:v>
                </c:pt>
                <c:pt idx="611">
                  <c:v>28.97</c:v>
                </c:pt>
                <c:pt idx="612">
                  <c:v>29.62</c:v>
                </c:pt>
                <c:pt idx="613">
                  <c:v>30.09</c:v>
                </c:pt>
                <c:pt idx="614">
                  <c:v>29.89</c:v>
                </c:pt>
                <c:pt idx="615">
                  <c:v>29.64</c:v>
                </c:pt>
                <c:pt idx="616">
                  <c:v>29.69</c:v>
                </c:pt>
                <c:pt idx="617">
                  <c:v>29.35</c:v>
                </c:pt>
                <c:pt idx="618">
                  <c:v>28.27</c:v>
                </c:pt>
                <c:pt idx="619">
                  <c:v>28.42</c:v>
                </c:pt>
                <c:pt idx="620">
                  <c:v>28.32</c:v>
                </c:pt>
                <c:pt idx="621">
                  <c:v>29.34</c:v>
                </c:pt>
                <c:pt idx="622">
                  <c:v>29</c:v>
                </c:pt>
                <c:pt idx="623">
                  <c:v>30.1</c:v>
                </c:pt>
                <c:pt idx="624">
                  <c:v>30.4</c:v>
                </c:pt>
                <c:pt idx="625">
                  <c:v>30.12</c:v>
                </c:pt>
                <c:pt idx="626">
                  <c:v>29.77</c:v>
                </c:pt>
                <c:pt idx="627">
                  <c:v>28.68</c:v>
                </c:pt>
                <c:pt idx="628">
                  <c:v>27.69</c:v>
                </c:pt>
                <c:pt idx="629">
                  <c:v>28.86</c:v>
                </c:pt>
                <c:pt idx="630">
                  <c:v>30.71</c:v>
                </c:pt>
                <c:pt idx="631">
                  <c:v>30.61</c:v>
                </c:pt>
                <c:pt idx="632">
                  <c:v>31.02</c:v>
                </c:pt>
                <c:pt idx="633">
                  <c:v>30.9</c:v>
                </c:pt>
                <c:pt idx="634">
                  <c:v>30.47</c:v>
                </c:pt>
                <c:pt idx="635">
                  <c:v>31.15</c:v>
                </c:pt>
                <c:pt idx="636">
                  <c:v>31.05</c:v>
                </c:pt>
                <c:pt idx="637">
                  <c:v>31.58</c:v>
                </c:pt>
                <c:pt idx="638">
                  <c:v>32.15</c:v>
                </c:pt>
                <c:pt idx="639">
                  <c:v>30.73</c:v>
                </c:pt>
                <c:pt idx="640">
                  <c:v>30.35</c:v>
                </c:pt>
                <c:pt idx="641">
                  <c:v>30.67</c:v>
                </c:pt>
                <c:pt idx="642">
                  <c:v>30.62</c:v>
                </c:pt>
                <c:pt idx="643">
                  <c:v>30.58</c:v>
                </c:pt>
                <c:pt idx="644">
                  <c:v>29.83</c:v>
                </c:pt>
                <c:pt idx="645">
                  <c:v>30.27</c:v>
                </c:pt>
                <c:pt idx="646">
                  <c:v>31.15</c:v>
                </c:pt>
                <c:pt idx="647">
                  <c:v>30.82</c:v>
                </c:pt>
                <c:pt idx="648">
                  <c:v>28.44</c:v>
                </c:pt>
                <c:pt idx="649">
                  <c:v>28.46</c:v>
                </c:pt>
                <c:pt idx="650">
                  <c:v>28.33</c:v>
                </c:pt>
                <c:pt idx="651">
                  <c:v>27.85</c:v>
                </c:pt>
                <c:pt idx="652">
                  <c:v>26.68</c:v>
                </c:pt>
                <c:pt idx="653">
                  <c:v>26.84</c:v>
                </c:pt>
                <c:pt idx="654">
                  <c:v>25.78</c:v>
                </c:pt>
                <c:pt idx="655">
                  <c:v>25.92</c:v>
                </c:pt>
                <c:pt idx="656">
                  <c:v>25.6</c:v>
                </c:pt>
                <c:pt idx="657">
                  <c:v>25.96</c:v>
                </c:pt>
                <c:pt idx="658">
                  <c:v>25.3</c:v>
                </c:pt>
                <c:pt idx="659">
                  <c:v>25.24</c:v>
                </c:pt>
                <c:pt idx="660">
                  <c:v>26.8</c:v>
                </c:pt>
                <c:pt idx="661">
                  <c:v>27.04</c:v>
                </c:pt>
                <c:pt idx="662">
                  <c:v>28.01</c:v>
                </c:pt>
                <c:pt idx="663">
                  <c:v>27.56</c:v>
                </c:pt>
                <c:pt idx="664">
                  <c:v>27.58</c:v>
                </c:pt>
                <c:pt idx="665">
                  <c:v>28.13</c:v>
                </c:pt>
                <c:pt idx="666">
                  <c:v>28.98</c:v>
                </c:pt>
                <c:pt idx="667">
                  <c:v>29.44</c:v>
                </c:pt>
                <c:pt idx="668">
                  <c:v>29.24</c:v>
                </c:pt>
                <c:pt idx="669">
                  <c:v>30</c:v>
                </c:pt>
                <c:pt idx="670">
                  <c:v>29.66</c:v>
                </c:pt>
                <c:pt idx="671">
                  <c:v>30.71</c:v>
                </c:pt>
                <c:pt idx="672">
                  <c:v>30.76</c:v>
                </c:pt>
                <c:pt idx="673">
                  <c:v>31.34</c:v>
                </c:pt>
                <c:pt idx="674">
                  <c:v>30.18</c:v>
                </c:pt>
                <c:pt idx="675">
                  <c:v>32.380000000000003</c:v>
                </c:pt>
                <c:pt idx="676">
                  <c:v>31.67</c:v>
                </c:pt>
                <c:pt idx="677">
                  <c:v>33.26</c:v>
                </c:pt>
                <c:pt idx="678">
                  <c:v>33.29</c:v>
                </c:pt>
                <c:pt idx="679">
                  <c:v>34.03</c:v>
                </c:pt>
                <c:pt idx="680">
                  <c:v>34.130000000000003</c:v>
                </c:pt>
                <c:pt idx="681">
                  <c:v>35.08</c:v>
                </c:pt>
                <c:pt idx="682">
                  <c:v>35.090000000000003</c:v>
                </c:pt>
                <c:pt idx="683">
                  <c:v>36.020000000000003</c:v>
                </c:pt>
                <c:pt idx="684">
                  <c:v>35.72</c:v>
                </c:pt>
                <c:pt idx="685">
                  <c:v>36.700000000000003</c:v>
                </c:pt>
                <c:pt idx="686">
                  <c:v>37.43</c:v>
                </c:pt>
                <c:pt idx="687">
                  <c:v>36.270000000000003</c:v>
                </c:pt>
                <c:pt idx="688">
                  <c:v>36.869999999999997</c:v>
                </c:pt>
                <c:pt idx="689">
                  <c:v>33.299999999999997</c:v>
                </c:pt>
                <c:pt idx="690">
                  <c:v>31.08</c:v>
                </c:pt>
                <c:pt idx="691">
                  <c:v>31.35</c:v>
                </c:pt>
                <c:pt idx="692">
                  <c:v>33.68</c:v>
                </c:pt>
                <c:pt idx="693">
                  <c:v>34.549999999999997</c:v>
                </c:pt>
                <c:pt idx="694">
                  <c:v>33.479999999999997</c:v>
                </c:pt>
                <c:pt idx="695">
                  <c:v>33.67</c:v>
                </c:pt>
                <c:pt idx="696">
                  <c:v>32.18</c:v>
                </c:pt>
                <c:pt idx="697">
                  <c:v>31.59</c:v>
                </c:pt>
                <c:pt idx="698">
                  <c:v>30.01</c:v>
                </c:pt>
                <c:pt idx="699">
                  <c:v>29.94</c:v>
                </c:pt>
                <c:pt idx="700">
                  <c:v>29.78</c:v>
                </c:pt>
                <c:pt idx="701">
                  <c:v>28.91</c:v>
                </c:pt>
                <c:pt idx="702">
                  <c:v>28.42</c:v>
                </c:pt>
                <c:pt idx="703">
                  <c:v>29.65</c:v>
                </c:pt>
                <c:pt idx="704">
                  <c:v>30.64</c:v>
                </c:pt>
                <c:pt idx="705">
                  <c:v>30.07</c:v>
                </c:pt>
                <c:pt idx="706">
                  <c:v>29.19</c:v>
                </c:pt>
                <c:pt idx="707">
                  <c:v>29.62</c:v>
                </c:pt>
                <c:pt idx="708">
                  <c:v>29.99</c:v>
                </c:pt>
                <c:pt idx="709">
                  <c:v>30.95</c:v>
                </c:pt>
                <c:pt idx="710">
                  <c:v>31.25</c:v>
                </c:pt>
                <c:pt idx="711">
                  <c:v>33.450000000000003</c:v>
                </c:pt>
                <c:pt idx="712">
                  <c:v>33.5</c:v>
                </c:pt>
                <c:pt idx="713">
                  <c:v>32.03</c:v>
                </c:pt>
                <c:pt idx="714">
                  <c:v>30.38</c:v>
                </c:pt>
                <c:pt idx="715">
                  <c:v>30.98</c:v>
                </c:pt>
                <c:pt idx="716">
                  <c:v>31.29</c:v>
                </c:pt>
                <c:pt idx="717">
                  <c:v>30.16</c:v>
                </c:pt>
                <c:pt idx="718">
                  <c:v>30.98</c:v>
                </c:pt>
                <c:pt idx="719">
                  <c:v>31.81</c:v>
                </c:pt>
                <c:pt idx="720">
                  <c:v>31.17</c:v>
                </c:pt>
                <c:pt idx="721">
                  <c:v>31.48</c:v>
                </c:pt>
                <c:pt idx="722">
                  <c:v>31.31</c:v>
                </c:pt>
                <c:pt idx="723">
                  <c:v>31.09</c:v>
                </c:pt>
                <c:pt idx="724">
                  <c:v>30.15</c:v>
                </c:pt>
                <c:pt idx="725">
                  <c:v>31.62</c:v>
                </c:pt>
                <c:pt idx="726">
                  <c:v>30.81</c:v>
                </c:pt>
                <c:pt idx="727">
                  <c:v>30.81</c:v>
                </c:pt>
                <c:pt idx="728">
                  <c:v>31</c:v>
                </c:pt>
                <c:pt idx="729">
                  <c:v>31.59</c:v>
                </c:pt>
                <c:pt idx="730">
                  <c:v>31.3</c:v>
                </c:pt>
                <c:pt idx="731">
                  <c:v>31.79</c:v>
                </c:pt>
                <c:pt idx="732">
                  <c:v>32.26</c:v>
                </c:pt>
                <c:pt idx="733">
                  <c:v>32.5</c:v>
                </c:pt>
                <c:pt idx="734">
                  <c:v>33.049999999999997</c:v>
                </c:pt>
                <c:pt idx="735">
                  <c:v>33.82</c:v>
                </c:pt>
                <c:pt idx="736">
                  <c:v>34.159999999999997</c:v>
                </c:pt>
                <c:pt idx="737">
                  <c:v>33.090000000000003</c:v>
                </c:pt>
                <c:pt idx="738">
                  <c:v>34.229999999999997</c:v>
                </c:pt>
                <c:pt idx="739">
                  <c:v>33.33</c:v>
                </c:pt>
                <c:pt idx="740">
                  <c:v>33.11</c:v>
                </c:pt>
                <c:pt idx="741">
                  <c:v>33.29</c:v>
                </c:pt>
                <c:pt idx="742">
                  <c:v>33.35</c:v>
                </c:pt>
                <c:pt idx="743">
                  <c:v>33.47</c:v>
                </c:pt>
                <c:pt idx="744">
                  <c:v>32.590000000000003</c:v>
                </c:pt>
                <c:pt idx="745">
                  <c:v>32.450000000000003</c:v>
                </c:pt>
                <c:pt idx="746">
                  <c:v>32.53</c:v>
                </c:pt>
                <c:pt idx="747">
                  <c:v>31.59</c:v>
                </c:pt>
                <c:pt idx="748">
                  <c:v>30.37</c:v>
                </c:pt>
                <c:pt idx="749">
                  <c:v>28.88</c:v>
                </c:pt>
                <c:pt idx="750">
                  <c:v>27.47</c:v>
                </c:pt>
                <c:pt idx="751">
                  <c:v>27.85</c:v>
                </c:pt>
                <c:pt idx="752">
                  <c:v>26.85</c:v>
                </c:pt>
                <c:pt idx="753">
                  <c:v>27.28</c:v>
                </c:pt>
                <c:pt idx="754">
                  <c:v>26.81</c:v>
                </c:pt>
                <c:pt idx="755">
                  <c:v>26.84</c:v>
                </c:pt>
                <c:pt idx="756">
                  <c:v>24.32</c:v>
                </c:pt>
                <c:pt idx="757">
                  <c:v>24.44</c:v>
                </c:pt>
                <c:pt idx="758">
                  <c:v>25.11</c:v>
                </c:pt>
                <c:pt idx="759">
                  <c:v>24.36</c:v>
                </c:pt>
                <c:pt idx="760">
                  <c:v>23.29</c:v>
                </c:pt>
                <c:pt idx="761">
                  <c:v>22.4</c:v>
                </c:pt>
                <c:pt idx="762">
                  <c:v>22.23</c:v>
                </c:pt>
                <c:pt idx="764">
                  <c:v>22.58</c:v>
                </c:pt>
                <c:pt idx="765">
                  <c:v>22.29</c:v>
                </c:pt>
                <c:pt idx="766">
                  <c:v>22.58</c:v>
                </c:pt>
                <c:pt idx="767">
                  <c:v>23.43</c:v>
                </c:pt>
                <c:pt idx="768">
                  <c:v>23.44</c:v>
                </c:pt>
                <c:pt idx="769">
                  <c:v>24.57</c:v>
                </c:pt>
                <c:pt idx="770">
                  <c:v>24.77</c:v>
                </c:pt>
                <c:pt idx="771">
                  <c:v>24.75</c:v>
                </c:pt>
                <c:pt idx="772">
                  <c:v>24.13</c:v>
                </c:pt>
                <c:pt idx="773">
                  <c:v>24.98</c:v>
                </c:pt>
                <c:pt idx="774">
                  <c:v>25.6</c:v>
                </c:pt>
                <c:pt idx="775">
                  <c:v>25.63</c:v>
                </c:pt>
                <c:pt idx="776">
                  <c:v>26.03</c:v>
                </c:pt>
                <c:pt idx="777">
                  <c:v>25.52</c:v>
                </c:pt>
                <c:pt idx="778">
                  <c:v>24.27</c:v>
                </c:pt>
                <c:pt idx="779">
                  <c:v>24.74</c:v>
                </c:pt>
                <c:pt idx="780">
                  <c:v>26.29</c:v>
                </c:pt>
                <c:pt idx="781">
                  <c:v>27.69</c:v>
                </c:pt>
                <c:pt idx="782">
                  <c:v>27.02</c:v>
                </c:pt>
                <c:pt idx="783">
                  <c:v>27.04</c:v>
                </c:pt>
                <c:pt idx="784">
                  <c:v>26.94</c:v>
                </c:pt>
                <c:pt idx="785">
                  <c:v>27.04</c:v>
                </c:pt>
                <c:pt idx="786">
                  <c:v>26.95</c:v>
                </c:pt>
                <c:pt idx="787">
                  <c:v>26.32</c:v>
                </c:pt>
                <c:pt idx="788">
                  <c:v>26.59</c:v>
                </c:pt>
                <c:pt idx="789">
                  <c:v>27.17</c:v>
                </c:pt>
                <c:pt idx="790">
                  <c:v>28.9</c:v>
                </c:pt>
                <c:pt idx="791">
                  <c:v>29.25</c:v>
                </c:pt>
                <c:pt idx="792">
                  <c:v>29.1</c:v>
                </c:pt>
                <c:pt idx="793">
                  <c:v>29.54</c:v>
                </c:pt>
                <c:pt idx="794">
                  <c:v>30.68</c:v>
                </c:pt>
                <c:pt idx="795">
                  <c:v>29.53</c:v>
                </c:pt>
                <c:pt idx="796">
                  <c:v>29.32</c:v>
                </c:pt>
                <c:pt idx="797">
                  <c:v>28</c:v>
                </c:pt>
                <c:pt idx="798">
                  <c:v>27.89</c:v>
                </c:pt>
                <c:pt idx="799">
                  <c:v>26.33</c:v>
                </c:pt>
                <c:pt idx="800">
                  <c:v>26.61</c:v>
                </c:pt>
                <c:pt idx="801">
                  <c:v>27.05</c:v>
                </c:pt>
                <c:pt idx="802">
                  <c:v>26.45</c:v>
                </c:pt>
                <c:pt idx="803">
                  <c:v>26.1</c:v>
                </c:pt>
                <c:pt idx="804">
                  <c:v>25.75</c:v>
                </c:pt>
                <c:pt idx="805">
                  <c:v>26.12</c:v>
                </c:pt>
                <c:pt idx="806">
                  <c:v>25.84</c:v>
                </c:pt>
                <c:pt idx="807">
                  <c:v>25.28</c:v>
                </c:pt>
                <c:pt idx="808">
                  <c:v>25.16</c:v>
                </c:pt>
                <c:pt idx="809">
                  <c:v>24.76</c:v>
                </c:pt>
                <c:pt idx="810">
                  <c:v>25.28</c:v>
                </c:pt>
                <c:pt idx="811">
                  <c:v>25.98</c:v>
                </c:pt>
                <c:pt idx="812">
                  <c:v>25.59</c:v>
                </c:pt>
                <c:pt idx="813">
                  <c:v>25.91</c:v>
                </c:pt>
                <c:pt idx="814">
                  <c:v>26.37</c:v>
                </c:pt>
                <c:pt idx="815">
                  <c:v>25.78</c:v>
                </c:pt>
                <c:pt idx="816">
                  <c:v>25.34</c:v>
                </c:pt>
                <c:pt idx="817">
                  <c:v>24.8</c:v>
                </c:pt>
                <c:pt idx="818">
                  <c:v>24.31</c:v>
                </c:pt>
                <c:pt idx="819">
                  <c:v>23.37</c:v>
                </c:pt>
                <c:pt idx="820">
                  <c:v>23.84</c:v>
                </c:pt>
                <c:pt idx="821">
                  <c:v>23.19</c:v>
                </c:pt>
                <c:pt idx="822">
                  <c:v>23.63</c:v>
                </c:pt>
                <c:pt idx="823">
                  <c:v>23.21</c:v>
                </c:pt>
                <c:pt idx="824">
                  <c:v>23.45</c:v>
                </c:pt>
                <c:pt idx="825">
                  <c:v>23.94</c:v>
                </c:pt>
                <c:pt idx="826">
                  <c:v>24.01</c:v>
                </c:pt>
                <c:pt idx="827">
                  <c:v>24.41</c:v>
                </c:pt>
                <c:pt idx="828">
                  <c:v>24.5</c:v>
                </c:pt>
                <c:pt idx="829">
                  <c:v>23.77</c:v>
                </c:pt>
                <c:pt idx="830">
                  <c:v>23.5</c:v>
                </c:pt>
                <c:pt idx="831">
                  <c:v>23.31</c:v>
                </c:pt>
                <c:pt idx="832">
                  <c:v>23.47</c:v>
                </c:pt>
                <c:pt idx="833">
                  <c:v>24.35</c:v>
                </c:pt>
                <c:pt idx="834">
                  <c:v>24.87</c:v>
                </c:pt>
                <c:pt idx="835">
                  <c:v>24.02</c:v>
                </c:pt>
                <c:pt idx="836">
                  <c:v>24.37</c:v>
                </c:pt>
                <c:pt idx="837">
                  <c:v>25.64</c:v>
                </c:pt>
                <c:pt idx="838">
                  <c:v>26.08</c:v>
                </c:pt>
                <c:pt idx="839">
                  <c:v>27.12</c:v>
                </c:pt>
                <c:pt idx="840">
                  <c:v>26.8</c:v>
                </c:pt>
                <c:pt idx="841">
                  <c:v>26.8</c:v>
                </c:pt>
                <c:pt idx="842">
                  <c:v>26.99</c:v>
                </c:pt>
                <c:pt idx="843">
                  <c:v>26.11</c:v>
                </c:pt>
                <c:pt idx="844">
                  <c:v>25.86</c:v>
                </c:pt>
                <c:pt idx="845">
                  <c:v>25.57</c:v>
                </c:pt>
                <c:pt idx="846">
                  <c:v>25.42</c:v>
                </c:pt>
                <c:pt idx="847">
                  <c:v>25.76</c:v>
                </c:pt>
                <c:pt idx="848">
                  <c:v>25.49</c:v>
                </c:pt>
                <c:pt idx="849">
                  <c:v>26.71</c:v>
                </c:pt>
                <c:pt idx="850">
                  <c:v>26.85</c:v>
                </c:pt>
                <c:pt idx="851">
                  <c:v>27.21</c:v>
                </c:pt>
                <c:pt idx="852">
                  <c:v>27.31</c:v>
                </c:pt>
                <c:pt idx="853">
                  <c:v>26.82</c:v>
                </c:pt>
                <c:pt idx="854">
                  <c:v>27.46</c:v>
                </c:pt>
                <c:pt idx="855">
                  <c:v>27.59</c:v>
                </c:pt>
                <c:pt idx="856">
                  <c:v>27.71</c:v>
                </c:pt>
                <c:pt idx="857">
                  <c:v>27.45</c:v>
                </c:pt>
                <c:pt idx="858">
                  <c:v>27.46</c:v>
                </c:pt>
                <c:pt idx="859">
                  <c:v>28.27</c:v>
                </c:pt>
                <c:pt idx="860">
                  <c:v>27.97</c:v>
                </c:pt>
                <c:pt idx="861">
                  <c:v>27.77</c:v>
                </c:pt>
                <c:pt idx="862">
                  <c:v>27.88</c:v>
                </c:pt>
                <c:pt idx="863">
                  <c:v>28.19</c:v>
                </c:pt>
                <c:pt idx="864">
                  <c:v>28.57</c:v>
                </c:pt>
                <c:pt idx="865">
                  <c:v>29.3</c:v>
                </c:pt>
                <c:pt idx="866">
                  <c:v>29.8</c:v>
                </c:pt>
                <c:pt idx="867">
                  <c:v>29.72</c:v>
                </c:pt>
                <c:pt idx="868">
                  <c:v>29.51</c:v>
                </c:pt>
                <c:pt idx="869">
                  <c:v>28.85</c:v>
                </c:pt>
                <c:pt idx="870">
                  <c:v>28.69</c:v>
                </c:pt>
                <c:pt idx="871">
                  <c:v>29.11</c:v>
                </c:pt>
                <c:pt idx="872">
                  <c:v>28.92</c:v>
                </c:pt>
                <c:pt idx="873">
                  <c:v>28.55</c:v>
                </c:pt>
                <c:pt idx="874">
                  <c:v>28.86</c:v>
                </c:pt>
                <c:pt idx="875">
                  <c:v>28.95</c:v>
                </c:pt>
                <c:pt idx="876">
                  <c:v>29.25</c:v>
                </c:pt>
                <c:pt idx="877">
                  <c:v>28.73</c:v>
                </c:pt>
                <c:pt idx="878">
                  <c:v>28.55</c:v>
                </c:pt>
                <c:pt idx="879">
                  <c:v>28.88</c:v>
                </c:pt>
                <c:pt idx="880">
                  <c:v>29.57</c:v>
                </c:pt>
                <c:pt idx="881">
                  <c:v>29.03</c:v>
                </c:pt>
                <c:pt idx="882">
                  <c:v>29.13</c:v>
                </c:pt>
                <c:pt idx="883">
                  <c:v>28.5</c:v>
                </c:pt>
                <c:pt idx="884">
                  <c:v>28.13</c:v>
                </c:pt>
                <c:pt idx="885">
                  <c:v>27.61</c:v>
                </c:pt>
                <c:pt idx="886">
                  <c:v>26.68</c:v>
                </c:pt>
                <c:pt idx="887">
                  <c:v>26.24</c:v>
                </c:pt>
                <c:pt idx="888">
                  <c:v>26.7</c:v>
                </c:pt>
                <c:pt idx="889">
                  <c:v>26.86</c:v>
                </c:pt>
                <c:pt idx="890">
                  <c:v>27.36</c:v>
                </c:pt>
                <c:pt idx="891">
                  <c:v>27.66</c:v>
                </c:pt>
                <c:pt idx="892">
                  <c:v>26.25</c:v>
                </c:pt>
                <c:pt idx="893">
                  <c:v>25.68</c:v>
                </c:pt>
                <c:pt idx="894">
                  <c:v>26.21</c:v>
                </c:pt>
                <c:pt idx="895">
                  <c:v>25.73</c:v>
                </c:pt>
                <c:pt idx="896">
                  <c:v>25.56</c:v>
                </c:pt>
                <c:pt idx="897">
                  <c:v>25.97</c:v>
                </c:pt>
                <c:pt idx="898">
                  <c:v>25.69</c:v>
                </c:pt>
                <c:pt idx="899">
                  <c:v>26.55</c:v>
                </c:pt>
                <c:pt idx="900">
                  <c:v>25.59</c:v>
                </c:pt>
                <c:pt idx="901">
                  <c:v>24.69</c:v>
                </c:pt>
                <c:pt idx="902">
                  <c:v>24.44</c:v>
                </c:pt>
                <c:pt idx="903">
                  <c:v>23.62</c:v>
                </c:pt>
                <c:pt idx="904">
                  <c:v>24.02</c:v>
                </c:pt>
                <c:pt idx="905">
                  <c:v>23.58</c:v>
                </c:pt>
                <c:pt idx="906">
                  <c:v>23.9</c:v>
                </c:pt>
                <c:pt idx="907">
                  <c:v>23.1</c:v>
                </c:pt>
                <c:pt idx="908">
                  <c:v>23.35</c:v>
                </c:pt>
                <c:pt idx="909">
                  <c:v>23.43</c:v>
                </c:pt>
                <c:pt idx="910">
                  <c:v>24.44</c:v>
                </c:pt>
                <c:pt idx="911">
                  <c:v>24.37</c:v>
                </c:pt>
                <c:pt idx="912">
                  <c:v>24.9</c:v>
                </c:pt>
                <c:pt idx="913">
                  <c:v>24.94</c:v>
                </c:pt>
                <c:pt idx="914">
                  <c:v>24.82</c:v>
                </c:pt>
                <c:pt idx="915">
                  <c:v>24.46</c:v>
                </c:pt>
                <c:pt idx="916">
                  <c:v>24.35</c:v>
                </c:pt>
                <c:pt idx="917">
                  <c:v>24.23</c:v>
                </c:pt>
                <c:pt idx="918">
                  <c:v>25.49</c:v>
                </c:pt>
                <c:pt idx="919">
                  <c:v>25.6</c:v>
                </c:pt>
                <c:pt idx="920">
                  <c:v>25.39</c:v>
                </c:pt>
                <c:pt idx="921">
                  <c:v>25.94</c:v>
                </c:pt>
                <c:pt idx="922">
                  <c:v>25.61</c:v>
                </c:pt>
                <c:pt idx="923">
                  <c:v>25.28</c:v>
                </c:pt>
                <c:pt idx="924">
                  <c:v>25.78</c:v>
                </c:pt>
                <c:pt idx="925">
                  <c:v>25.88</c:v>
                </c:pt>
                <c:pt idx="926">
                  <c:v>25.71</c:v>
                </c:pt>
                <c:pt idx="927">
                  <c:v>25.61</c:v>
                </c:pt>
                <c:pt idx="928">
                  <c:v>25.18</c:v>
                </c:pt>
                <c:pt idx="929">
                  <c:v>24.68</c:v>
                </c:pt>
                <c:pt idx="930">
                  <c:v>24.35</c:v>
                </c:pt>
                <c:pt idx="931">
                  <c:v>25.36</c:v>
                </c:pt>
                <c:pt idx="932">
                  <c:v>25.71</c:v>
                </c:pt>
                <c:pt idx="933">
                  <c:v>25.66</c:v>
                </c:pt>
                <c:pt idx="934">
                  <c:v>26.33</c:v>
                </c:pt>
                <c:pt idx="935">
                  <c:v>26.22</c:v>
                </c:pt>
                <c:pt idx="936">
                  <c:v>26.46</c:v>
                </c:pt>
                <c:pt idx="937">
                  <c:v>26.67</c:v>
                </c:pt>
                <c:pt idx="938">
                  <c:v>26.7</c:v>
                </c:pt>
                <c:pt idx="939">
                  <c:v>26.8</c:v>
                </c:pt>
                <c:pt idx="940">
                  <c:v>26.52</c:v>
                </c:pt>
                <c:pt idx="941">
                  <c:v>26.27</c:v>
                </c:pt>
                <c:pt idx="942">
                  <c:v>26.27</c:v>
                </c:pt>
                <c:pt idx="943">
                  <c:v>26.61</c:v>
                </c:pt>
                <c:pt idx="944">
                  <c:v>27.54</c:v>
                </c:pt>
                <c:pt idx="945">
                  <c:v>27.59</c:v>
                </c:pt>
                <c:pt idx="946">
                  <c:v>29.12</c:v>
                </c:pt>
                <c:pt idx="947">
                  <c:v>28.24</c:v>
                </c:pt>
                <c:pt idx="948">
                  <c:v>28.2</c:v>
                </c:pt>
                <c:pt idx="949">
                  <c:v>29.22</c:v>
                </c:pt>
                <c:pt idx="950">
                  <c:v>28.32</c:v>
                </c:pt>
                <c:pt idx="951">
                  <c:v>27.54</c:v>
                </c:pt>
                <c:pt idx="952">
                  <c:v>25.44</c:v>
                </c:pt>
                <c:pt idx="953">
                  <c:v>25.57</c:v>
                </c:pt>
                <c:pt idx="954">
                  <c:v>25.17</c:v>
                </c:pt>
                <c:pt idx="955">
                  <c:v>20.63</c:v>
                </c:pt>
                <c:pt idx="956">
                  <c:v>20.13</c:v>
                </c:pt>
                <c:pt idx="957">
                  <c:v>20.67</c:v>
                </c:pt>
                <c:pt idx="958">
                  <c:v>21.47</c:v>
                </c:pt>
                <c:pt idx="959">
                  <c:v>21.87</c:v>
                </c:pt>
                <c:pt idx="960">
                  <c:v>21.22</c:v>
                </c:pt>
                <c:pt idx="961">
                  <c:v>21.29</c:v>
                </c:pt>
                <c:pt idx="962">
                  <c:v>20.63</c:v>
                </c:pt>
                <c:pt idx="963">
                  <c:v>20.94</c:v>
                </c:pt>
                <c:pt idx="964">
                  <c:v>21.46</c:v>
                </c:pt>
                <c:pt idx="965">
                  <c:v>20.91</c:v>
                </c:pt>
                <c:pt idx="966">
                  <c:v>20.65</c:v>
                </c:pt>
                <c:pt idx="967">
                  <c:v>21.02</c:v>
                </c:pt>
                <c:pt idx="968">
                  <c:v>21.38</c:v>
                </c:pt>
                <c:pt idx="969">
                  <c:v>20.57</c:v>
                </c:pt>
                <c:pt idx="970">
                  <c:v>20.36</c:v>
                </c:pt>
                <c:pt idx="971">
                  <c:v>20.47</c:v>
                </c:pt>
                <c:pt idx="972">
                  <c:v>19.47</c:v>
                </c:pt>
                <c:pt idx="973">
                  <c:v>19.21</c:v>
                </c:pt>
                <c:pt idx="974">
                  <c:v>19.91</c:v>
                </c:pt>
                <c:pt idx="975">
                  <c:v>20.38</c:v>
                </c:pt>
                <c:pt idx="976">
                  <c:v>20.56</c:v>
                </c:pt>
                <c:pt idx="977">
                  <c:v>20.37</c:v>
                </c:pt>
                <c:pt idx="978">
                  <c:v>20.67</c:v>
                </c:pt>
                <c:pt idx="979">
                  <c:v>20.309999999999999</c:v>
                </c:pt>
                <c:pt idx="980">
                  <c:v>20.55</c:v>
                </c:pt>
                <c:pt idx="981">
                  <c:v>20.41</c:v>
                </c:pt>
                <c:pt idx="982">
                  <c:v>19.63</c:v>
                </c:pt>
                <c:pt idx="983">
                  <c:v>19.39</c:v>
                </c:pt>
                <c:pt idx="984">
                  <c:v>18.63</c:v>
                </c:pt>
                <c:pt idx="985">
                  <c:v>18.78</c:v>
                </c:pt>
                <c:pt idx="986">
                  <c:v>18.64</c:v>
                </c:pt>
                <c:pt idx="987">
                  <c:v>18.86</c:v>
                </c:pt>
                <c:pt idx="988">
                  <c:v>19.54</c:v>
                </c:pt>
                <c:pt idx="989">
                  <c:v>20.72</c:v>
                </c:pt>
                <c:pt idx="990">
                  <c:v>19.48</c:v>
                </c:pt>
                <c:pt idx="991">
                  <c:v>20.47</c:v>
                </c:pt>
                <c:pt idx="992">
                  <c:v>18.78</c:v>
                </c:pt>
                <c:pt idx="993">
                  <c:v>16.510000000000002</c:v>
                </c:pt>
                <c:pt idx="994">
                  <c:v>16.86</c:v>
                </c:pt>
                <c:pt idx="995">
                  <c:v>16.55</c:v>
                </c:pt>
                <c:pt idx="996">
                  <c:v>18.82</c:v>
                </c:pt>
                <c:pt idx="997">
                  <c:v>18.440000000000001</c:v>
                </c:pt>
                <c:pt idx="998">
                  <c:v>19.649999999999999</c:v>
                </c:pt>
                <c:pt idx="999">
                  <c:v>19.399999999999999</c:v>
                </c:pt>
                <c:pt idx="1000">
                  <c:v>18.66</c:v>
                </c:pt>
                <c:pt idx="1001">
                  <c:v>19.09</c:v>
                </c:pt>
                <c:pt idx="1002">
                  <c:v>18.809999999999999</c:v>
                </c:pt>
                <c:pt idx="1003">
                  <c:v>18.54</c:v>
                </c:pt>
                <c:pt idx="1004">
                  <c:v>18.920000000000002</c:v>
                </c:pt>
                <c:pt idx="1005">
                  <c:v>20</c:v>
                </c:pt>
                <c:pt idx="1006">
                  <c:v>19.28</c:v>
                </c:pt>
                <c:pt idx="1007">
                  <c:v>19.27</c:v>
                </c:pt>
                <c:pt idx="1008">
                  <c:v>18.57</c:v>
                </c:pt>
                <c:pt idx="1009">
                  <c:v>17.809999999999999</c:v>
                </c:pt>
                <c:pt idx="1010">
                  <c:v>18.03</c:v>
                </c:pt>
                <c:pt idx="1011">
                  <c:v>17.61</c:v>
                </c:pt>
                <c:pt idx="1012">
                  <c:v>18.13</c:v>
                </c:pt>
                <c:pt idx="1013">
                  <c:v>17.8</c:v>
                </c:pt>
                <c:pt idx="1014">
                  <c:v>18.54</c:v>
                </c:pt>
                <c:pt idx="1015">
                  <c:v>18.579999999999998</c:v>
                </c:pt>
                <c:pt idx="1016">
                  <c:v>18.510000000000002</c:v>
                </c:pt>
                <c:pt idx="1017">
                  <c:v>19.03</c:v>
                </c:pt>
                <c:pt idx="1018">
                  <c:v>18.87</c:v>
                </c:pt>
                <c:pt idx="1019">
                  <c:v>18.73</c:v>
                </c:pt>
                <c:pt idx="1020">
                  <c:v>18.649999999999999</c:v>
                </c:pt>
                <c:pt idx="1022">
                  <c:v>18.87</c:v>
                </c:pt>
                <c:pt idx="1023">
                  <c:v>19.77</c:v>
                </c:pt>
                <c:pt idx="1024">
                  <c:v>19.350000000000001</c:v>
                </c:pt>
                <c:pt idx="1025">
                  <c:v>20.13</c:v>
                </c:pt>
                <c:pt idx="1026">
                  <c:v>20.47</c:v>
                </c:pt>
                <c:pt idx="1027">
                  <c:v>21.2</c:v>
                </c:pt>
                <c:pt idx="1028">
                  <c:v>21.08</c:v>
                </c:pt>
                <c:pt idx="1029">
                  <c:v>21.03</c:v>
                </c:pt>
                <c:pt idx="1030">
                  <c:v>20.21</c:v>
                </c:pt>
                <c:pt idx="1031">
                  <c:v>19.71</c:v>
                </c:pt>
                <c:pt idx="1032">
                  <c:v>20.079999999999998</c:v>
                </c:pt>
                <c:pt idx="1033">
                  <c:v>18.89</c:v>
                </c:pt>
                <c:pt idx="1034">
                  <c:v>18.86</c:v>
                </c:pt>
                <c:pt idx="1035">
                  <c:v>18.5</c:v>
                </c:pt>
                <c:pt idx="1036">
                  <c:v>18.2</c:v>
                </c:pt>
                <c:pt idx="1037">
                  <c:v>18.170000000000002</c:v>
                </c:pt>
                <c:pt idx="1038">
                  <c:v>18.32</c:v>
                </c:pt>
                <c:pt idx="1039">
                  <c:v>18.7</c:v>
                </c:pt>
                <c:pt idx="1040">
                  <c:v>18.89</c:v>
                </c:pt>
                <c:pt idx="1041">
                  <c:v>18.91</c:v>
                </c:pt>
                <c:pt idx="1042">
                  <c:v>19.04</c:v>
                </c:pt>
                <c:pt idx="1043">
                  <c:v>19.739999999999998</c:v>
                </c:pt>
                <c:pt idx="1044">
                  <c:v>19.260000000000002</c:v>
                </c:pt>
                <c:pt idx="1045">
                  <c:v>18.71</c:v>
                </c:pt>
                <c:pt idx="1046">
                  <c:v>19.07</c:v>
                </c:pt>
                <c:pt idx="1047">
                  <c:v>19.7</c:v>
                </c:pt>
                <c:pt idx="1048">
                  <c:v>20.260000000000002</c:v>
                </c:pt>
                <c:pt idx="1049">
                  <c:v>19.899999999999999</c:v>
                </c:pt>
                <c:pt idx="1050">
                  <c:v>19.97</c:v>
                </c:pt>
                <c:pt idx="1051">
                  <c:v>19.420000000000002</c:v>
                </c:pt>
                <c:pt idx="1052">
                  <c:v>20.010000000000002</c:v>
                </c:pt>
                <c:pt idx="1053">
                  <c:v>20.079999999999998</c:v>
                </c:pt>
                <c:pt idx="1054">
                  <c:v>21.75</c:v>
                </c:pt>
                <c:pt idx="1055">
                  <c:v>21.41</c:v>
                </c:pt>
                <c:pt idx="1056">
                  <c:v>20.97</c:v>
                </c:pt>
                <c:pt idx="1057">
                  <c:v>20.76</c:v>
                </c:pt>
                <c:pt idx="1058">
                  <c:v>20.12</c:v>
                </c:pt>
                <c:pt idx="1059">
                  <c:v>20.18</c:v>
                </c:pt>
                <c:pt idx="1060">
                  <c:v>19.440000000000001</c:v>
                </c:pt>
                <c:pt idx="1061">
                  <c:v>20.21</c:v>
                </c:pt>
                <c:pt idx="1062">
                  <c:v>20.14</c:v>
                </c:pt>
                <c:pt idx="1063">
                  <c:v>19.78</c:v>
                </c:pt>
                <c:pt idx="1064">
                  <c:v>19.95</c:v>
                </c:pt>
                <c:pt idx="1065">
                  <c:v>20.73</c:v>
                </c:pt>
                <c:pt idx="1066">
                  <c:v>20.73</c:v>
                </c:pt>
                <c:pt idx="1067">
                  <c:v>21.83</c:v>
                </c:pt>
                <c:pt idx="1068">
                  <c:v>21.59</c:v>
                </c:pt>
                <c:pt idx="1069">
                  <c:v>22.25</c:v>
                </c:pt>
                <c:pt idx="1070">
                  <c:v>22.11</c:v>
                </c:pt>
                <c:pt idx="1071">
                  <c:v>23.1</c:v>
                </c:pt>
                <c:pt idx="1072">
                  <c:v>22.32</c:v>
                </c:pt>
                <c:pt idx="1073">
                  <c:v>23.14</c:v>
                </c:pt>
                <c:pt idx="1074">
                  <c:v>22.7</c:v>
                </c:pt>
                <c:pt idx="1075">
                  <c:v>23.6</c:v>
                </c:pt>
                <c:pt idx="1076">
                  <c:v>23.76</c:v>
                </c:pt>
                <c:pt idx="1077">
                  <c:v>23.9</c:v>
                </c:pt>
                <c:pt idx="1078">
                  <c:v>23.8</c:v>
                </c:pt>
                <c:pt idx="1079">
                  <c:v>24.51</c:v>
                </c:pt>
                <c:pt idx="1080">
                  <c:v>24.78</c:v>
                </c:pt>
                <c:pt idx="1081">
                  <c:v>24.25</c:v>
                </c:pt>
                <c:pt idx="1082">
                  <c:v>24.83</c:v>
                </c:pt>
                <c:pt idx="1083">
                  <c:v>24.75</c:v>
                </c:pt>
                <c:pt idx="1084">
                  <c:v>24.6</c:v>
                </c:pt>
                <c:pt idx="1085">
                  <c:v>25.13</c:v>
                </c:pt>
                <c:pt idx="1086">
                  <c:v>25.34</c:v>
                </c:pt>
                <c:pt idx="1087">
                  <c:v>25.34</c:v>
                </c:pt>
                <c:pt idx="1088">
                  <c:v>26.06</c:v>
                </c:pt>
                <c:pt idx="1089">
                  <c:v>26.97</c:v>
                </c:pt>
                <c:pt idx="1090">
                  <c:v>26.72</c:v>
                </c:pt>
                <c:pt idx="1091">
                  <c:v>26.97</c:v>
                </c:pt>
                <c:pt idx="1092">
                  <c:v>25.39</c:v>
                </c:pt>
                <c:pt idx="1093">
                  <c:v>26.36</c:v>
                </c:pt>
                <c:pt idx="1094">
                  <c:v>25.48</c:v>
                </c:pt>
                <c:pt idx="1095">
                  <c:v>25.13</c:v>
                </c:pt>
                <c:pt idx="1096">
                  <c:v>24.22</c:v>
                </c:pt>
                <c:pt idx="1097">
                  <c:v>23.25</c:v>
                </c:pt>
                <c:pt idx="1098">
                  <c:v>23.39</c:v>
                </c:pt>
                <c:pt idx="1099">
                  <c:v>24.03</c:v>
                </c:pt>
                <c:pt idx="1100">
                  <c:v>25.26</c:v>
                </c:pt>
                <c:pt idx="1101">
                  <c:v>25.9</c:v>
                </c:pt>
                <c:pt idx="1102">
                  <c:v>25.86</c:v>
                </c:pt>
                <c:pt idx="1103">
                  <c:v>25.96</c:v>
                </c:pt>
                <c:pt idx="1104">
                  <c:v>26.26</c:v>
                </c:pt>
                <c:pt idx="1105">
                  <c:v>26.2</c:v>
                </c:pt>
                <c:pt idx="1106">
                  <c:v>26.47</c:v>
                </c:pt>
                <c:pt idx="1107">
                  <c:v>26.32</c:v>
                </c:pt>
                <c:pt idx="1108">
                  <c:v>26.85</c:v>
                </c:pt>
                <c:pt idx="1109">
                  <c:v>26.98</c:v>
                </c:pt>
                <c:pt idx="1110">
                  <c:v>26.67</c:v>
                </c:pt>
                <c:pt idx="1111">
                  <c:v>25.73</c:v>
                </c:pt>
                <c:pt idx="1112">
                  <c:v>25.8</c:v>
                </c:pt>
                <c:pt idx="1114">
                  <c:v>25.53</c:v>
                </c:pt>
                <c:pt idx="1115">
                  <c:v>26.09</c:v>
                </c:pt>
                <c:pt idx="1116">
                  <c:v>26.09</c:v>
                </c:pt>
                <c:pt idx="1117">
                  <c:v>26.89</c:v>
                </c:pt>
                <c:pt idx="1118">
                  <c:v>26.3</c:v>
                </c:pt>
                <c:pt idx="1119">
                  <c:v>27.12</c:v>
                </c:pt>
                <c:pt idx="1120">
                  <c:v>27.17</c:v>
                </c:pt>
                <c:pt idx="1121">
                  <c:v>25.71</c:v>
                </c:pt>
                <c:pt idx="1122">
                  <c:v>25.45</c:v>
                </c:pt>
                <c:pt idx="1123">
                  <c:v>25.97</c:v>
                </c:pt>
                <c:pt idx="1124">
                  <c:v>24.99</c:v>
                </c:pt>
                <c:pt idx="1125">
                  <c:v>24.32</c:v>
                </c:pt>
                <c:pt idx="1126">
                  <c:v>24.01</c:v>
                </c:pt>
                <c:pt idx="1127">
                  <c:v>23.76</c:v>
                </c:pt>
                <c:pt idx="1128">
                  <c:v>23.52</c:v>
                </c:pt>
                <c:pt idx="1129">
                  <c:v>24.71</c:v>
                </c:pt>
                <c:pt idx="1130">
                  <c:v>24.18</c:v>
                </c:pt>
                <c:pt idx="1131">
                  <c:v>23.72</c:v>
                </c:pt>
                <c:pt idx="1132">
                  <c:v>23.87</c:v>
                </c:pt>
                <c:pt idx="1135">
                  <c:v>23.19</c:v>
                </c:pt>
                <c:pt idx="1136">
                  <c:v>22.79</c:v>
                </c:pt>
                <c:pt idx="1137">
                  <c:v>22.99</c:v>
                </c:pt>
                <c:pt idx="1138">
                  <c:v>22.83</c:v>
                </c:pt>
                <c:pt idx="1139">
                  <c:v>22.37</c:v>
                </c:pt>
                <c:pt idx="1140">
                  <c:v>23.09</c:v>
                </c:pt>
                <c:pt idx="1141">
                  <c:v>23.72</c:v>
                </c:pt>
                <c:pt idx="1142">
                  <c:v>23.97</c:v>
                </c:pt>
                <c:pt idx="1143">
                  <c:v>24.69</c:v>
                </c:pt>
                <c:pt idx="1144">
                  <c:v>24.64</c:v>
                </c:pt>
                <c:pt idx="1145">
                  <c:v>24.85</c:v>
                </c:pt>
                <c:pt idx="1146">
                  <c:v>24.42</c:v>
                </c:pt>
                <c:pt idx="1147">
                  <c:v>24.14</c:v>
                </c:pt>
                <c:pt idx="1148">
                  <c:v>24.99</c:v>
                </c:pt>
                <c:pt idx="1149">
                  <c:v>25.32</c:v>
                </c:pt>
                <c:pt idx="1150">
                  <c:v>24.75</c:v>
                </c:pt>
                <c:pt idx="1151">
                  <c:v>25.39</c:v>
                </c:pt>
                <c:pt idx="1152">
                  <c:v>25.33</c:v>
                </c:pt>
                <c:pt idx="1153">
                  <c:v>25.65</c:v>
                </c:pt>
                <c:pt idx="1154">
                  <c:v>25.64</c:v>
                </c:pt>
                <c:pt idx="1155">
                  <c:v>25.59</c:v>
                </c:pt>
                <c:pt idx="1156">
                  <c:v>25.51</c:v>
                </c:pt>
                <c:pt idx="1157">
                  <c:v>25.75</c:v>
                </c:pt>
                <c:pt idx="1158">
                  <c:v>25.08</c:v>
                </c:pt>
                <c:pt idx="1159">
                  <c:v>24.9</c:v>
                </c:pt>
                <c:pt idx="1160">
                  <c:v>25.82</c:v>
                </c:pt>
                <c:pt idx="1161">
                  <c:v>25.83</c:v>
                </c:pt>
                <c:pt idx="1162">
                  <c:v>26.11</c:v>
                </c:pt>
                <c:pt idx="1163">
                  <c:v>26.16</c:v>
                </c:pt>
                <c:pt idx="1164">
                  <c:v>25.94</c:v>
                </c:pt>
                <c:pt idx="1165">
                  <c:v>26.19</c:v>
                </c:pt>
                <c:pt idx="1166">
                  <c:v>26.72</c:v>
                </c:pt>
                <c:pt idx="1167">
                  <c:v>26.37</c:v>
                </c:pt>
                <c:pt idx="1168">
                  <c:v>25.7</c:v>
                </c:pt>
                <c:pt idx="1169">
                  <c:v>25.65</c:v>
                </c:pt>
                <c:pt idx="1170">
                  <c:v>25.43</c:v>
                </c:pt>
                <c:pt idx="1171">
                  <c:v>25.36</c:v>
                </c:pt>
                <c:pt idx="1172">
                  <c:v>25.1</c:v>
                </c:pt>
                <c:pt idx="1173">
                  <c:v>25.2</c:v>
                </c:pt>
                <c:pt idx="1174">
                  <c:v>25.95</c:v>
                </c:pt>
                <c:pt idx="1175">
                  <c:v>26.28</c:v>
                </c:pt>
                <c:pt idx="1176">
                  <c:v>25.79</c:v>
                </c:pt>
                <c:pt idx="1177">
                  <c:v>25.17</c:v>
                </c:pt>
                <c:pt idx="1178">
                  <c:v>25.2</c:v>
                </c:pt>
                <c:pt idx="1179">
                  <c:v>25.69</c:v>
                </c:pt>
                <c:pt idx="1180">
                  <c:v>25.7</c:v>
                </c:pt>
                <c:pt idx="1181">
                  <c:v>25.51</c:v>
                </c:pt>
                <c:pt idx="1182">
                  <c:v>25.49</c:v>
                </c:pt>
                <c:pt idx="1183">
                  <c:v>25.63</c:v>
                </c:pt>
                <c:pt idx="1184">
                  <c:v>26.11</c:v>
                </c:pt>
                <c:pt idx="1185">
                  <c:v>26.47</c:v>
                </c:pt>
                <c:pt idx="1186">
                  <c:v>26.66</c:v>
                </c:pt>
                <c:pt idx="1187">
                  <c:v>27.33</c:v>
                </c:pt>
                <c:pt idx="1188">
                  <c:v>27.44</c:v>
                </c:pt>
                <c:pt idx="1189">
                  <c:v>27.63</c:v>
                </c:pt>
                <c:pt idx="1190">
                  <c:v>27.53</c:v>
                </c:pt>
                <c:pt idx="1191">
                  <c:v>27.81</c:v>
                </c:pt>
                <c:pt idx="1192">
                  <c:v>27.51</c:v>
                </c:pt>
                <c:pt idx="1193">
                  <c:v>27.56</c:v>
                </c:pt>
                <c:pt idx="1194">
                  <c:v>27.89</c:v>
                </c:pt>
                <c:pt idx="1195">
                  <c:v>27.54</c:v>
                </c:pt>
                <c:pt idx="1196">
                  <c:v>27.11</c:v>
                </c:pt>
                <c:pt idx="1197">
                  <c:v>27.56</c:v>
                </c:pt>
                <c:pt idx="1198">
                  <c:v>27.45</c:v>
                </c:pt>
                <c:pt idx="1199">
                  <c:v>26.58</c:v>
                </c:pt>
                <c:pt idx="1200">
                  <c:v>27.31</c:v>
                </c:pt>
                <c:pt idx="1201">
                  <c:v>27.54</c:v>
                </c:pt>
                <c:pt idx="1202">
                  <c:v>28.36</c:v>
                </c:pt>
                <c:pt idx="1203">
                  <c:v>28.67</c:v>
                </c:pt>
                <c:pt idx="1204">
                  <c:v>28.92</c:v>
                </c:pt>
                <c:pt idx="1205">
                  <c:v>28.68</c:v>
                </c:pt>
                <c:pt idx="1206">
                  <c:v>27.76</c:v>
                </c:pt>
                <c:pt idx="1207">
                  <c:v>28.53</c:v>
                </c:pt>
                <c:pt idx="1208">
                  <c:v>28.38</c:v>
                </c:pt>
                <c:pt idx="1209">
                  <c:v>27.76</c:v>
                </c:pt>
                <c:pt idx="1210">
                  <c:v>28.41</c:v>
                </c:pt>
                <c:pt idx="1211">
                  <c:v>28.45</c:v>
                </c:pt>
                <c:pt idx="1212">
                  <c:v>28.61</c:v>
                </c:pt>
                <c:pt idx="1213">
                  <c:v>29.36</c:v>
                </c:pt>
                <c:pt idx="1214">
                  <c:v>29.47</c:v>
                </c:pt>
                <c:pt idx="1215">
                  <c:v>29.11</c:v>
                </c:pt>
                <c:pt idx="1216">
                  <c:v>28.93</c:v>
                </c:pt>
                <c:pt idx="1217">
                  <c:v>29</c:v>
                </c:pt>
                <c:pt idx="1218">
                  <c:v>29.11</c:v>
                </c:pt>
                <c:pt idx="1219">
                  <c:v>29.42</c:v>
                </c:pt>
                <c:pt idx="1220">
                  <c:v>29.14</c:v>
                </c:pt>
                <c:pt idx="1221">
                  <c:v>28.46</c:v>
                </c:pt>
                <c:pt idx="1222">
                  <c:v>28.32</c:v>
                </c:pt>
                <c:pt idx="1223">
                  <c:v>28.38</c:v>
                </c:pt>
                <c:pt idx="1224">
                  <c:v>28.28</c:v>
                </c:pt>
                <c:pt idx="1225">
                  <c:v>28.29</c:v>
                </c:pt>
                <c:pt idx="1226">
                  <c:v>27.7</c:v>
                </c:pt>
                <c:pt idx="1227">
                  <c:v>28.18</c:v>
                </c:pt>
                <c:pt idx="1228">
                  <c:v>28.56</c:v>
                </c:pt>
                <c:pt idx="1229">
                  <c:v>28.66</c:v>
                </c:pt>
                <c:pt idx="1230">
                  <c:v>28.61</c:v>
                </c:pt>
                <c:pt idx="1231">
                  <c:v>28.22</c:v>
                </c:pt>
                <c:pt idx="1232">
                  <c:v>28.2</c:v>
                </c:pt>
                <c:pt idx="1233">
                  <c:v>27.01</c:v>
                </c:pt>
                <c:pt idx="1234">
                  <c:v>26.69</c:v>
                </c:pt>
                <c:pt idx="1235">
                  <c:v>26.68</c:v>
                </c:pt>
                <c:pt idx="1236">
                  <c:v>26.78</c:v>
                </c:pt>
                <c:pt idx="1237">
                  <c:v>25.96</c:v>
                </c:pt>
                <c:pt idx="1238">
                  <c:v>25.44</c:v>
                </c:pt>
                <c:pt idx="1239">
                  <c:v>25.71</c:v>
                </c:pt>
                <c:pt idx="1240">
                  <c:v>25.29</c:v>
                </c:pt>
                <c:pt idx="1241">
                  <c:v>25.51</c:v>
                </c:pt>
                <c:pt idx="1242">
                  <c:v>25.78</c:v>
                </c:pt>
                <c:pt idx="1243">
                  <c:v>25.21</c:v>
                </c:pt>
                <c:pt idx="1244">
                  <c:v>24.66</c:v>
                </c:pt>
                <c:pt idx="1245">
                  <c:v>23.73</c:v>
                </c:pt>
                <c:pt idx="1246">
                  <c:v>24.36</c:v>
                </c:pt>
                <c:pt idx="1247">
                  <c:v>23.54</c:v>
                </c:pt>
                <c:pt idx="1248">
                  <c:v>23.86</c:v>
                </c:pt>
                <c:pt idx="1249">
                  <c:v>24.01</c:v>
                </c:pt>
                <c:pt idx="1250">
                  <c:v>22.96</c:v>
                </c:pt>
                <c:pt idx="1251">
                  <c:v>22.82</c:v>
                </c:pt>
                <c:pt idx="1252">
                  <c:v>23.33</c:v>
                </c:pt>
                <c:pt idx="1253">
                  <c:v>23.41</c:v>
                </c:pt>
                <c:pt idx="1254">
                  <c:v>24.05</c:v>
                </c:pt>
                <c:pt idx="1255">
                  <c:v>24.05</c:v>
                </c:pt>
                <c:pt idx="1256">
                  <c:v>24.52</c:v>
                </c:pt>
                <c:pt idx="1257">
                  <c:v>24.79</c:v>
                </c:pt>
                <c:pt idx="1258">
                  <c:v>24.85</c:v>
                </c:pt>
                <c:pt idx="1259">
                  <c:v>24.56</c:v>
                </c:pt>
                <c:pt idx="1260">
                  <c:v>25.11</c:v>
                </c:pt>
                <c:pt idx="1261">
                  <c:v>25.7</c:v>
                </c:pt>
                <c:pt idx="1262">
                  <c:v>25.74</c:v>
                </c:pt>
                <c:pt idx="1263">
                  <c:v>25.73</c:v>
                </c:pt>
                <c:pt idx="1264">
                  <c:v>26.09</c:v>
                </c:pt>
                <c:pt idx="1265">
                  <c:v>25.99</c:v>
                </c:pt>
                <c:pt idx="1266">
                  <c:v>26.07</c:v>
                </c:pt>
                <c:pt idx="1267">
                  <c:v>25.67</c:v>
                </c:pt>
                <c:pt idx="1268">
                  <c:v>26.06</c:v>
                </c:pt>
                <c:pt idx="1269">
                  <c:v>26.35</c:v>
                </c:pt>
                <c:pt idx="1270">
                  <c:v>26.85</c:v>
                </c:pt>
                <c:pt idx="1271">
                  <c:v>27.29</c:v>
                </c:pt>
                <c:pt idx="1272">
                  <c:v>27.64</c:v>
                </c:pt>
                <c:pt idx="1273">
                  <c:v>28.73</c:v>
                </c:pt>
                <c:pt idx="1274">
                  <c:v>29.25</c:v>
                </c:pt>
                <c:pt idx="1275">
                  <c:v>29.95</c:v>
                </c:pt>
                <c:pt idx="1276">
                  <c:v>30.26</c:v>
                </c:pt>
                <c:pt idx="1277">
                  <c:v>29.59</c:v>
                </c:pt>
                <c:pt idx="1278">
                  <c:v>30.61</c:v>
                </c:pt>
                <c:pt idx="1279">
                  <c:v>30.93</c:v>
                </c:pt>
                <c:pt idx="1281">
                  <c:v>31.49</c:v>
                </c:pt>
                <c:pt idx="1282">
                  <c:v>32.020000000000003</c:v>
                </c:pt>
                <c:pt idx="1283">
                  <c:v>30.12</c:v>
                </c:pt>
                <c:pt idx="1284">
                  <c:v>30.32</c:v>
                </c:pt>
                <c:pt idx="1285">
                  <c:v>31.43</c:v>
                </c:pt>
                <c:pt idx="1286">
                  <c:v>31.43</c:v>
                </c:pt>
                <c:pt idx="1287">
                  <c:v>30.78</c:v>
                </c:pt>
                <c:pt idx="1288">
                  <c:v>29.3</c:v>
                </c:pt>
                <c:pt idx="1289">
                  <c:v>30.26</c:v>
                </c:pt>
                <c:pt idx="1290">
                  <c:v>30.07</c:v>
                </c:pt>
                <c:pt idx="1291">
                  <c:v>30.46</c:v>
                </c:pt>
                <c:pt idx="1292">
                  <c:v>31.36</c:v>
                </c:pt>
                <c:pt idx="1293">
                  <c:v>31.73</c:v>
                </c:pt>
                <c:pt idx="1294">
                  <c:v>32.29</c:v>
                </c:pt>
                <c:pt idx="1295">
                  <c:v>31.57</c:v>
                </c:pt>
                <c:pt idx="1296">
                  <c:v>32.229999999999997</c:v>
                </c:pt>
                <c:pt idx="1297">
                  <c:v>31.72</c:v>
                </c:pt>
                <c:pt idx="1298">
                  <c:v>32.07</c:v>
                </c:pt>
                <c:pt idx="1299">
                  <c:v>31.4</c:v>
                </c:pt>
                <c:pt idx="1300">
                  <c:v>31.62</c:v>
                </c:pt>
                <c:pt idx="1301">
                  <c:v>31.02</c:v>
                </c:pt>
                <c:pt idx="1302">
                  <c:v>30.73</c:v>
                </c:pt>
                <c:pt idx="1303">
                  <c:v>31.26</c:v>
                </c:pt>
                <c:pt idx="1304">
                  <c:v>31.42</c:v>
                </c:pt>
                <c:pt idx="1305">
                  <c:v>31.57</c:v>
                </c:pt>
                <c:pt idx="1306">
                  <c:v>30.95</c:v>
                </c:pt>
                <c:pt idx="1307">
                  <c:v>31.13</c:v>
                </c:pt>
                <c:pt idx="1308">
                  <c:v>31.77</c:v>
                </c:pt>
                <c:pt idx="1309">
                  <c:v>31.81</c:v>
                </c:pt>
                <c:pt idx="1310">
                  <c:v>32.229999999999997</c:v>
                </c:pt>
                <c:pt idx="1311">
                  <c:v>32.47</c:v>
                </c:pt>
                <c:pt idx="1312">
                  <c:v>32.51</c:v>
                </c:pt>
                <c:pt idx="1313">
                  <c:v>32.46</c:v>
                </c:pt>
                <c:pt idx="1314">
                  <c:v>33.229999999999997</c:v>
                </c:pt>
                <c:pt idx="1315">
                  <c:v>33.26</c:v>
                </c:pt>
                <c:pt idx="1316">
                  <c:v>33.06</c:v>
                </c:pt>
                <c:pt idx="1317">
                  <c:v>33.26</c:v>
                </c:pt>
                <c:pt idx="1318">
                  <c:v>33.159999999999997</c:v>
                </c:pt>
                <c:pt idx="1319">
                  <c:v>32.76</c:v>
                </c:pt>
                <c:pt idx="1320">
                  <c:v>32.76</c:v>
                </c:pt>
                <c:pt idx="1321">
                  <c:v>33.409999999999997</c:v>
                </c:pt>
                <c:pt idx="1322">
                  <c:v>33.64</c:v>
                </c:pt>
                <c:pt idx="1323">
                  <c:v>33.46</c:v>
                </c:pt>
                <c:pt idx="1324">
                  <c:v>34.090000000000003</c:v>
                </c:pt>
                <c:pt idx="1325">
                  <c:v>34</c:v>
                </c:pt>
                <c:pt idx="1326">
                  <c:v>33.4</c:v>
                </c:pt>
                <c:pt idx="1327">
                  <c:v>34.369999999999997</c:v>
                </c:pt>
                <c:pt idx="1328">
                  <c:v>33.92</c:v>
                </c:pt>
                <c:pt idx="1329">
                  <c:v>34.39</c:v>
                </c:pt>
                <c:pt idx="1330">
                  <c:v>34.47</c:v>
                </c:pt>
                <c:pt idx="1331">
                  <c:v>34.94</c:v>
                </c:pt>
                <c:pt idx="1332">
                  <c:v>34.06</c:v>
                </c:pt>
                <c:pt idx="1333">
                  <c:v>34.159999999999997</c:v>
                </c:pt>
                <c:pt idx="1334">
                  <c:v>33.979999999999997</c:v>
                </c:pt>
                <c:pt idx="1335">
                  <c:v>31.48</c:v>
                </c:pt>
                <c:pt idx="1336">
                  <c:v>30.35</c:v>
                </c:pt>
                <c:pt idx="1337">
                  <c:v>28.55</c:v>
                </c:pt>
                <c:pt idx="1338">
                  <c:v>28.4</c:v>
                </c:pt>
                <c:pt idx="1339">
                  <c:v>28</c:v>
                </c:pt>
                <c:pt idx="1340">
                  <c:v>25.59</c:v>
                </c:pt>
                <c:pt idx="1341">
                  <c:v>26.54</c:v>
                </c:pt>
                <c:pt idx="1342">
                  <c:v>27.28</c:v>
                </c:pt>
                <c:pt idx="1343">
                  <c:v>25.98</c:v>
                </c:pt>
                <c:pt idx="1344">
                  <c:v>27.29</c:v>
                </c:pt>
                <c:pt idx="1345">
                  <c:v>27.66</c:v>
                </c:pt>
                <c:pt idx="1346">
                  <c:v>28.05</c:v>
                </c:pt>
                <c:pt idx="1347">
                  <c:v>27.94</c:v>
                </c:pt>
                <c:pt idx="1348">
                  <c:v>26.29</c:v>
                </c:pt>
                <c:pt idx="1349">
                  <c:v>26.75</c:v>
                </c:pt>
                <c:pt idx="1350">
                  <c:v>25.62</c:v>
                </c:pt>
                <c:pt idx="1351">
                  <c:v>25.27</c:v>
                </c:pt>
                <c:pt idx="1352">
                  <c:v>24.88</c:v>
                </c:pt>
                <c:pt idx="1353">
                  <c:v>25.11</c:v>
                </c:pt>
                <c:pt idx="1354">
                  <c:v>25.16</c:v>
                </c:pt>
                <c:pt idx="1355">
                  <c:v>24.39</c:v>
                </c:pt>
                <c:pt idx="1356">
                  <c:v>24.72</c:v>
                </c:pt>
                <c:pt idx="1357">
                  <c:v>24.74</c:v>
                </c:pt>
                <c:pt idx="1358">
                  <c:v>24.86</c:v>
                </c:pt>
                <c:pt idx="1359">
                  <c:v>25.36</c:v>
                </c:pt>
                <c:pt idx="1360">
                  <c:v>25.76</c:v>
                </c:pt>
                <c:pt idx="1361">
                  <c:v>25.76</c:v>
                </c:pt>
                <c:pt idx="1362">
                  <c:v>25.72</c:v>
                </c:pt>
                <c:pt idx="1363">
                  <c:v>24.56</c:v>
                </c:pt>
                <c:pt idx="1364">
                  <c:v>24.06</c:v>
                </c:pt>
                <c:pt idx="1365">
                  <c:v>24.29</c:v>
                </c:pt>
                <c:pt idx="1366">
                  <c:v>23.42</c:v>
                </c:pt>
                <c:pt idx="1367">
                  <c:v>23.23</c:v>
                </c:pt>
                <c:pt idx="1368">
                  <c:v>23.6</c:v>
                </c:pt>
                <c:pt idx="1369">
                  <c:v>23.79</c:v>
                </c:pt>
                <c:pt idx="1370">
                  <c:v>23.73</c:v>
                </c:pt>
                <c:pt idx="1371">
                  <c:v>23.59</c:v>
                </c:pt>
                <c:pt idx="1372">
                  <c:v>23.91</c:v>
                </c:pt>
                <c:pt idx="1373">
                  <c:v>24.01</c:v>
                </c:pt>
                <c:pt idx="1374">
                  <c:v>24.48</c:v>
                </c:pt>
                <c:pt idx="1375">
                  <c:v>25.55</c:v>
                </c:pt>
                <c:pt idx="1376">
                  <c:v>25.69</c:v>
                </c:pt>
                <c:pt idx="1377">
                  <c:v>25.45</c:v>
                </c:pt>
                <c:pt idx="1378">
                  <c:v>25.98</c:v>
                </c:pt>
                <c:pt idx="1379">
                  <c:v>26.77</c:v>
                </c:pt>
                <c:pt idx="1380">
                  <c:v>27.18</c:v>
                </c:pt>
                <c:pt idx="1381">
                  <c:v>27.23</c:v>
                </c:pt>
                <c:pt idx="1382">
                  <c:v>26.69</c:v>
                </c:pt>
                <c:pt idx="1383">
                  <c:v>27.58</c:v>
                </c:pt>
                <c:pt idx="1384">
                  <c:v>27.32</c:v>
                </c:pt>
                <c:pt idx="1385">
                  <c:v>27.14</c:v>
                </c:pt>
                <c:pt idx="1386">
                  <c:v>26.78</c:v>
                </c:pt>
                <c:pt idx="1387">
                  <c:v>26.55</c:v>
                </c:pt>
                <c:pt idx="1388">
                  <c:v>26.48</c:v>
                </c:pt>
                <c:pt idx="1389">
                  <c:v>26.39</c:v>
                </c:pt>
                <c:pt idx="1390">
                  <c:v>26.58</c:v>
                </c:pt>
                <c:pt idx="1391">
                  <c:v>27.56</c:v>
                </c:pt>
                <c:pt idx="1392">
                  <c:v>27.99</c:v>
                </c:pt>
                <c:pt idx="1393">
                  <c:v>27.49</c:v>
                </c:pt>
                <c:pt idx="1394">
                  <c:v>28.16</c:v>
                </c:pt>
                <c:pt idx="1395">
                  <c:v>28.38</c:v>
                </c:pt>
                <c:pt idx="1396">
                  <c:v>28.62</c:v>
                </c:pt>
                <c:pt idx="1397">
                  <c:v>28.44</c:v>
                </c:pt>
                <c:pt idx="1398">
                  <c:v>28.97</c:v>
                </c:pt>
                <c:pt idx="1399">
                  <c:v>28.48</c:v>
                </c:pt>
                <c:pt idx="1400">
                  <c:v>27.39</c:v>
                </c:pt>
                <c:pt idx="1401">
                  <c:v>27.5</c:v>
                </c:pt>
                <c:pt idx="1402">
                  <c:v>27.14</c:v>
                </c:pt>
                <c:pt idx="1403">
                  <c:v>26.43</c:v>
                </c:pt>
                <c:pt idx="1404">
                  <c:v>26.21</c:v>
                </c:pt>
                <c:pt idx="1405">
                  <c:v>27.13</c:v>
                </c:pt>
                <c:pt idx="1406">
                  <c:v>27.13</c:v>
                </c:pt>
                <c:pt idx="1407">
                  <c:v>26.96</c:v>
                </c:pt>
                <c:pt idx="1408">
                  <c:v>27.34</c:v>
                </c:pt>
                <c:pt idx="1409">
                  <c:v>27.06</c:v>
                </c:pt>
                <c:pt idx="1410">
                  <c:v>27.45</c:v>
                </c:pt>
                <c:pt idx="1411">
                  <c:v>28.88</c:v>
                </c:pt>
                <c:pt idx="1412">
                  <c:v>28.33</c:v>
                </c:pt>
                <c:pt idx="1413">
                  <c:v>28.2</c:v>
                </c:pt>
                <c:pt idx="1414">
                  <c:v>28.63</c:v>
                </c:pt>
                <c:pt idx="1415">
                  <c:v>27.97</c:v>
                </c:pt>
                <c:pt idx="1416">
                  <c:v>27.23</c:v>
                </c:pt>
                <c:pt idx="1417">
                  <c:v>27.95</c:v>
                </c:pt>
                <c:pt idx="1418">
                  <c:v>28.21</c:v>
                </c:pt>
                <c:pt idx="1419">
                  <c:v>29.37</c:v>
                </c:pt>
                <c:pt idx="1420">
                  <c:v>29.36</c:v>
                </c:pt>
                <c:pt idx="1421">
                  <c:v>28.52</c:v>
                </c:pt>
                <c:pt idx="1422">
                  <c:v>28.87</c:v>
                </c:pt>
                <c:pt idx="1423">
                  <c:v>28.51</c:v>
                </c:pt>
                <c:pt idx="1424">
                  <c:v>28.59</c:v>
                </c:pt>
                <c:pt idx="1425">
                  <c:v>29.2</c:v>
                </c:pt>
                <c:pt idx="1426">
                  <c:v>28.01</c:v>
                </c:pt>
                <c:pt idx="1427">
                  <c:v>28.4</c:v>
                </c:pt>
                <c:pt idx="1428">
                  <c:v>27.67</c:v>
                </c:pt>
                <c:pt idx="1429">
                  <c:v>27.73</c:v>
                </c:pt>
                <c:pt idx="1430">
                  <c:v>28.3</c:v>
                </c:pt>
                <c:pt idx="1431">
                  <c:v>27.71</c:v>
                </c:pt>
                <c:pt idx="1432">
                  <c:v>28.27</c:v>
                </c:pt>
                <c:pt idx="1433">
                  <c:v>28.31</c:v>
                </c:pt>
                <c:pt idx="1434">
                  <c:v>28.68</c:v>
                </c:pt>
                <c:pt idx="1435">
                  <c:v>29.63</c:v>
                </c:pt>
                <c:pt idx="1436">
                  <c:v>29.91</c:v>
                </c:pt>
                <c:pt idx="1437">
                  <c:v>30.37</c:v>
                </c:pt>
                <c:pt idx="1438">
                  <c:v>30.01</c:v>
                </c:pt>
                <c:pt idx="1439">
                  <c:v>30.06</c:v>
                </c:pt>
                <c:pt idx="1440">
                  <c:v>30.59</c:v>
                </c:pt>
                <c:pt idx="1441">
                  <c:v>30.05</c:v>
                </c:pt>
                <c:pt idx="1442">
                  <c:v>30.13</c:v>
                </c:pt>
                <c:pt idx="1443">
                  <c:v>29.66</c:v>
                </c:pt>
                <c:pt idx="1444">
                  <c:v>28.96</c:v>
                </c:pt>
                <c:pt idx="1445">
                  <c:v>29.18</c:v>
                </c:pt>
                <c:pt idx="1446">
                  <c:v>29.88</c:v>
                </c:pt>
                <c:pt idx="1447">
                  <c:v>29.18</c:v>
                </c:pt>
                <c:pt idx="1448">
                  <c:v>29.28</c:v>
                </c:pt>
                <c:pt idx="1449">
                  <c:v>29.95</c:v>
                </c:pt>
                <c:pt idx="1450">
                  <c:v>30.22</c:v>
                </c:pt>
                <c:pt idx="1451">
                  <c:v>29.98</c:v>
                </c:pt>
                <c:pt idx="1452">
                  <c:v>30.08</c:v>
                </c:pt>
                <c:pt idx="1453">
                  <c:v>30.05</c:v>
                </c:pt>
                <c:pt idx="1454">
                  <c:v>30.1</c:v>
                </c:pt>
                <c:pt idx="1455">
                  <c:v>30.38</c:v>
                </c:pt>
                <c:pt idx="1456">
                  <c:v>29.64</c:v>
                </c:pt>
                <c:pt idx="1457">
                  <c:v>28.08</c:v>
                </c:pt>
                <c:pt idx="1458">
                  <c:v>27.89</c:v>
                </c:pt>
                <c:pt idx="1459">
                  <c:v>27.49</c:v>
                </c:pt>
                <c:pt idx="1460">
                  <c:v>27.72</c:v>
                </c:pt>
                <c:pt idx="1461">
                  <c:v>28.47</c:v>
                </c:pt>
                <c:pt idx="1462">
                  <c:v>27.64</c:v>
                </c:pt>
                <c:pt idx="1463">
                  <c:v>27.76</c:v>
                </c:pt>
                <c:pt idx="1464">
                  <c:v>27.48</c:v>
                </c:pt>
                <c:pt idx="1465">
                  <c:v>26.52</c:v>
                </c:pt>
                <c:pt idx="1466">
                  <c:v>26.38</c:v>
                </c:pt>
                <c:pt idx="1467">
                  <c:v>26.28</c:v>
                </c:pt>
                <c:pt idx="1468">
                  <c:v>25.76</c:v>
                </c:pt>
                <c:pt idx="1469">
                  <c:v>25.56</c:v>
                </c:pt>
                <c:pt idx="1470">
                  <c:v>25.51</c:v>
                </c:pt>
                <c:pt idx="1471">
                  <c:v>25.82</c:v>
                </c:pt>
                <c:pt idx="1472">
                  <c:v>25.74</c:v>
                </c:pt>
                <c:pt idx="1473">
                  <c:v>26.81</c:v>
                </c:pt>
                <c:pt idx="1474">
                  <c:v>27.04</c:v>
                </c:pt>
                <c:pt idx="1475">
                  <c:v>27.02</c:v>
                </c:pt>
                <c:pt idx="1476">
                  <c:v>27.77</c:v>
                </c:pt>
                <c:pt idx="1477">
                  <c:v>28.09</c:v>
                </c:pt>
                <c:pt idx="1478">
                  <c:v>27.98</c:v>
                </c:pt>
                <c:pt idx="1479">
                  <c:v>28.9</c:v>
                </c:pt>
                <c:pt idx="1480">
                  <c:v>29.14</c:v>
                </c:pt>
                <c:pt idx="1481">
                  <c:v>29.75</c:v>
                </c:pt>
                <c:pt idx="1482">
                  <c:v>29.35</c:v>
                </c:pt>
                <c:pt idx="1483">
                  <c:v>28.96</c:v>
                </c:pt>
                <c:pt idx="1484">
                  <c:v>30.21</c:v>
                </c:pt>
                <c:pt idx="1485">
                  <c:v>31.13</c:v>
                </c:pt>
                <c:pt idx="1486">
                  <c:v>31</c:v>
                </c:pt>
                <c:pt idx="1487">
                  <c:v>31.45</c:v>
                </c:pt>
                <c:pt idx="1488">
                  <c:v>31.23</c:v>
                </c:pt>
                <c:pt idx="1489">
                  <c:v>31.05</c:v>
                </c:pt>
                <c:pt idx="1490">
                  <c:v>30.27</c:v>
                </c:pt>
                <c:pt idx="1491">
                  <c:v>29.78</c:v>
                </c:pt>
                <c:pt idx="1492">
                  <c:v>29.61</c:v>
                </c:pt>
                <c:pt idx="1493">
                  <c:v>29.25</c:v>
                </c:pt>
                <c:pt idx="1494">
                  <c:v>29.63</c:v>
                </c:pt>
                <c:pt idx="1495">
                  <c:v>30.01</c:v>
                </c:pt>
                <c:pt idx="1496">
                  <c:v>29.38</c:v>
                </c:pt>
                <c:pt idx="1497">
                  <c:v>28.99</c:v>
                </c:pt>
                <c:pt idx="1498">
                  <c:v>28.56</c:v>
                </c:pt>
                <c:pt idx="1499">
                  <c:v>27.47</c:v>
                </c:pt>
                <c:pt idx="1500">
                  <c:v>27.88</c:v>
                </c:pt>
                <c:pt idx="1501">
                  <c:v>27.78</c:v>
                </c:pt>
                <c:pt idx="1502">
                  <c:v>27.32</c:v>
                </c:pt>
                <c:pt idx="1503">
                  <c:v>27.9</c:v>
                </c:pt>
                <c:pt idx="1504">
                  <c:v>28.52</c:v>
                </c:pt>
                <c:pt idx="1505">
                  <c:v>28.73</c:v>
                </c:pt>
                <c:pt idx="1506">
                  <c:v>28.82</c:v>
                </c:pt>
                <c:pt idx="1507">
                  <c:v>28.88</c:v>
                </c:pt>
                <c:pt idx="1508">
                  <c:v>28.58</c:v>
                </c:pt>
                <c:pt idx="1509">
                  <c:v>29.01</c:v>
                </c:pt>
                <c:pt idx="1510">
                  <c:v>29.78</c:v>
                </c:pt>
                <c:pt idx="1511">
                  <c:v>28.98</c:v>
                </c:pt>
                <c:pt idx="1512">
                  <c:v>29.26</c:v>
                </c:pt>
                <c:pt idx="1513">
                  <c:v>30.13</c:v>
                </c:pt>
                <c:pt idx="1514">
                  <c:v>29.88</c:v>
                </c:pt>
                <c:pt idx="1515">
                  <c:v>29.79</c:v>
                </c:pt>
                <c:pt idx="1516">
                  <c:v>27.99</c:v>
                </c:pt>
                <c:pt idx="1517">
                  <c:v>27.62</c:v>
                </c:pt>
                <c:pt idx="1518">
                  <c:v>28.23</c:v>
                </c:pt>
                <c:pt idx="1519">
                  <c:v>28.9</c:v>
                </c:pt>
                <c:pt idx="1520">
                  <c:v>28.95</c:v>
                </c:pt>
                <c:pt idx="1521">
                  <c:v>28.17</c:v>
                </c:pt>
                <c:pt idx="1522">
                  <c:v>29.1</c:v>
                </c:pt>
                <c:pt idx="1523">
                  <c:v>29.26</c:v>
                </c:pt>
                <c:pt idx="1524">
                  <c:v>29.25</c:v>
                </c:pt>
                <c:pt idx="1525">
                  <c:v>28.87</c:v>
                </c:pt>
                <c:pt idx="1526">
                  <c:v>30.52</c:v>
                </c:pt>
                <c:pt idx="1527">
                  <c:v>30.27</c:v>
                </c:pt>
                <c:pt idx="1528">
                  <c:v>30.02</c:v>
                </c:pt>
                <c:pt idx="1529">
                  <c:v>29.79</c:v>
                </c:pt>
                <c:pt idx="1530">
                  <c:v>30.24</c:v>
                </c:pt>
                <c:pt idx="1531">
                  <c:v>30.89</c:v>
                </c:pt>
                <c:pt idx="1532">
                  <c:v>30.64</c:v>
                </c:pt>
                <c:pt idx="1533">
                  <c:v>31.01</c:v>
                </c:pt>
                <c:pt idx="1534">
                  <c:v>30.79</c:v>
                </c:pt>
                <c:pt idx="1535">
                  <c:v>31.03</c:v>
                </c:pt>
                <c:pt idx="1536">
                  <c:v>28.78</c:v>
                </c:pt>
                <c:pt idx="1537">
                  <c:v>28.3</c:v>
                </c:pt>
                <c:pt idx="1538">
                  <c:v>29.45</c:v>
                </c:pt>
                <c:pt idx="1539">
                  <c:v>29.17</c:v>
                </c:pt>
                <c:pt idx="1540">
                  <c:v>30.1</c:v>
                </c:pt>
                <c:pt idx="1541">
                  <c:v>30.3</c:v>
                </c:pt>
                <c:pt idx="1542">
                  <c:v>29.55</c:v>
                </c:pt>
                <c:pt idx="1543">
                  <c:v>32.299999999999997</c:v>
                </c:pt>
                <c:pt idx="1544">
                  <c:v>31.2</c:v>
                </c:pt>
                <c:pt idx="1545">
                  <c:v>30.99</c:v>
                </c:pt>
                <c:pt idx="1546">
                  <c:v>31.11</c:v>
                </c:pt>
                <c:pt idx="1547">
                  <c:v>31.91</c:v>
                </c:pt>
                <c:pt idx="1548">
                  <c:v>31.41</c:v>
                </c:pt>
                <c:pt idx="1549">
                  <c:v>32.549999999999997</c:v>
                </c:pt>
                <c:pt idx="1550">
                  <c:v>31.84</c:v>
                </c:pt>
                <c:pt idx="1551">
                  <c:v>31.43</c:v>
                </c:pt>
                <c:pt idx="1552">
                  <c:v>31.26</c:v>
                </c:pt>
                <c:pt idx="1553">
                  <c:v>31.67</c:v>
                </c:pt>
                <c:pt idx="1554">
                  <c:v>32.26</c:v>
                </c:pt>
                <c:pt idx="1555">
                  <c:v>31.95</c:v>
                </c:pt>
                <c:pt idx="1556">
                  <c:v>31.42</c:v>
                </c:pt>
                <c:pt idx="1557">
                  <c:v>32.08</c:v>
                </c:pt>
                <c:pt idx="1558">
                  <c:v>31.15</c:v>
                </c:pt>
                <c:pt idx="1559">
                  <c:v>31.05</c:v>
                </c:pt>
                <c:pt idx="1560">
                  <c:v>30.77</c:v>
                </c:pt>
                <c:pt idx="1561">
                  <c:v>29.47</c:v>
                </c:pt>
                <c:pt idx="1562">
                  <c:v>29.53</c:v>
                </c:pt>
                <c:pt idx="1563">
                  <c:v>30.3</c:v>
                </c:pt>
                <c:pt idx="1564">
                  <c:v>30.07</c:v>
                </c:pt>
                <c:pt idx="1565">
                  <c:v>29.63</c:v>
                </c:pt>
                <c:pt idx="1566">
                  <c:v>29.02</c:v>
                </c:pt>
                <c:pt idx="1567">
                  <c:v>29.26</c:v>
                </c:pt>
                <c:pt idx="1568">
                  <c:v>29.1</c:v>
                </c:pt>
                <c:pt idx="1569">
                  <c:v>30.06</c:v>
                </c:pt>
                <c:pt idx="1570">
                  <c:v>30.33</c:v>
                </c:pt>
                <c:pt idx="1571">
                  <c:v>30.17</c:v>
                </c:pt>
                <c:pt idx="1572">
                  <c:v>30.96</c:v>
                </c:pt>
                <c:pt idx="1573">
                  <c:v>31.08</c:v>
                </c:pt>
                <c:pt idx="1574">
                  <c:v>31.43</c:v>
                </c:pt>
                <c:pt idx="1575">
                  <c:v>31.57</c:v>
                </c:pt>
                <c:pt idx="1576">
                  <c:v>31.63</c:v>
                </c:pt>
                <c:pt idx="1577">
                  <c:v>31.22</c:v>
                </c:pt>
                <c:pt idx="1578">
                  <c:v>31.89</c:v>
                </c:pt>
                <c:pt idx="1579">
                  <c:v>31.6</c:v>
                </c:pt>
                <c:pt idx="1580">
                  <c:v>32.46</c:v>
                </c:pt>
                <c:pt idx="1581">
                  <c:v>32.450000000000003</c:v>
                </c:pt>
                <c:pt idx="1582">
                  <c:v>32.94</c:v>
                </c:pt>
                <c:pt idx="1583">
                  <c:v>33.340000000000003</c:v>
                </c:pt>
                <c:pt idx="1584">
                  <c:v>34.15</c:v>
                </c:pt>
                <c:pt idx="1585">
                  <c:v>33.32</c:v>
                </c:pt>
                <c:pt idx="1586">
                  <c:v>33.450000000000003</c:v>
                </c:pt>
                <c:pt idx="1587">
                  <c:v>34.4</c:v>
                </c:pt>
                <c:pt idx="1588">
                  <c:v>34.270000000000003</c:v>
                </c:pt>
                <c:pt idx="1589">
                  <c:v>33.72</c:v>
                </c:pt>
                <c:pt idx="1590">
                  <c:v>32.83</c:v>
                </c:pt>
                <c:pt idx="1591">
                  <c:v>33.22</c:v>
                </c:pt>
                <c:pt idx="1592">
                  <c:v>32.76</c:v>
                </c:pt>
                <c:pt idx="1593">
                  <c:v>34.39</c:v>
                </c:pt>
                <c:pt idx="1594">
                  <c:v>34.72</c:v>
                </c:pt>
                <c:pt idx="1595">
                  <c:v>34.950000000000003</c:v>
                </c:pt>
                <c:pt idx="1596">
                  <c:v>34.43</c:v>
                </c:pt>
                <c:pt idx="1597">
                  <c:v>34.33</c:v>
                </c:pt>
                <c:pt idx="1598">
                  <c:v>33.57</c:v>
                </c:pt>
                <c:pt idx="1599">
                  <c:v>34.4</c:v>
                </c:pt>
                <c:pt idx="1600">
                  <c:v>34.14</c:v>
                </c:pt>
                <c:pt idx="1601">
                  <c:v>33.32</c:v>
                </c:pt>
                <c:pt idx="1602">
                  <c:v>32.51</c:v>
                </c:pt>
                <c:pt idx="1603">
                  <c:v>32.04</c:v>
                </c:pt>
                <c:pt idx="1604">
                  <c:v>33.04</c:v>
                </c:pt>
                <c:pt idx="1605">
                  <c:v>32.29</c:v>
                </c:pt>
                <c:pt idx="1606">
                  <c:v>32.590000000000003</c:v>
                </c:pt>
                <c:pt idx="1607">
                  <c:v>31.19</c:v>
                </c:pt>
                <c:pt idx="1608">
                  <c:v>31.17</c:v>
                </c:pt>
                <c:pt idx="1609">
                  <c:v>31.48</c:v>
                </c:pt>
                <c:pt idx="1610">
                  <c:v>33.07</c:v>
                </c:pt>
                <c:pt idx="1611">
                  <c:v>33.979999999999997</c:v>
                </c:pt>
                <c:pt idx="1612">
                  <c:v>34.03</c:v>
                </c:pt>
                <c:pt idx="1613">
                  <c:v>34.51</c:v>
                </c:pt>
                <c:pt idx="1614">
                  <c:v>34.15</c:v>
                </c:pt>
                <c:pt idx="1615">
                  <c:v>33.54</c:v>
                </c:pt>
                <c:pt idx="1616">
                  <c:v>33.72</c:v>
                </c:pt>
                <c:pt idx="1617">
                  <c:v>33.85</c:v>
                </c:pt>
                <c:pt idx="1618">
                  <c:v>34.71</c:v>
                </c:pt>
                <c:pt idx="1619">
                  <c:v>33.56</c:v>
                </c:pt>
                <c:pt idx="1620">
                  <c:v>33.229999999999997</c:v>
                </c:pt>
                <c:pt idx="1621">
                  <c:v>33.24</c:v>
                </c:pt>
                <c:pt idx="1622">
                  <c:v>33.78</c:v>
                </c:pt>
                <c:pt idx="1623">
                  <c:v>34.18</c:v>
                </c:pt>
                <c:pt idx="1624">
                  <c:v>34.11</c:v>
                </c:pt>
                <c:pt idx="1625">
                  <c:v>35.020000000000003</c:v>
                </c:pt>
                <c:pt idx="1626">
                  <c:v>34.659999999999997</c:v>
                </c:pt>
                <c:pt idx="1627">
                  <c:v>35.229999999999997</c:v>
                </c:pt>
                <c:pt idx="1628">
                  <c:v>34.97</c:v>
                </c:pt>
                <c:pt idx="1629">
                  <c:v>36.07</c:v>
                </c:pt>
                <c:pt idx="1630">
                  <c:v>36.58</c:v>
                </c:pt>
                <c:pt idx="1631">
                  <c:v>37.049999999999997</c:v>
                </c:pt>
                <c:pt idx="1632">
                  <c:v>37.25</c:v>
                </c:pt>
                <c:pt idx="1633">
                  <c:v>35.83</c:v>
                </c:pt>
                <c:pt idx="1634">
                  <c:v>36.97</c:v>
                </c:pt>
                <c:pt idx="1635">
                  <c:v>37.950000000000003</c:v>
                </c:pt>
                <c:pt idx="1636">
                  <c:v>38.299999999999997</c:v>
                </c:pt>
                <c:pt idx="1637">
                  <c:v>39.04</c:v>
                </c:pt>
                <c:pt idx="1638">
                  <c:v>38.880000000000003</c:v>
                </c:pt>
                <c:pt idx="1639">
                  <c:v>38.43</c:v>
                </c:pt>
                <c:pt idx="1640">
                  <c:v>38.35</c:v>
                </c:pt>
                <c:pt idx="1641">
                  <c:v>38.89</c:v>
                </c:pt>
                <c:pt idx="1642">
                  <c:v>37.6</c:v>
                </c:pt>
                <c:pt idx="1643">
                  <c:v>39.22</c:v>
                </c:pt>
                <c:pt idx="1644">
                  <c:v>38.46</c:v>
                </c:pt>
                <c:pt idx="1645">
                  <c:v>38.049999999999997</c:v>
                </c:pt>
                <c:pt idx="1646">
                  <c:v>37.03</c:v>
                </c:pt>
                <c:pt idx="1647">
                  <c:v>37</c:v>
                </c:pt>
                <c:pt idx="1648">
                  <c:v>37</c:v>
                </c:pt>
                <c:pt idx="1649">
                  <c:v>39.049999999999997</c:v>
                </c:pt>
                <c:pt idx="1650">
                  <c:v>37.99</c:v>
                </c:pt>
                <c:pt idx="1651">
                  <c:v>36.26</c:v>
                </c:pt>
                <c:pt idx="1652">
                  <c:v>35.97</c:v>
                </c:pt>
                <c:pt idx="1653">
                  <c:v>35.57</c:v>
                </c:pt>
                <c:pt idx="1654">
                  <c:v>35.47</c:v>
                </c:pt>
                <c:pt idx="1655">
                  <c:v>34.69</c:v>
                </c:pt>
                <c:pt idx="1656">
                  <c:v>35.75</c:v>
                </c:pt>
                <c:pt idx="1657">
                  <c:v>35.229999999999997</c:v>
                </c:pt>
                <c:pt idx="1658">
                  <c:v>35.22</c:v>
                </c:pt>
                <c:pt idx="1659">
                  <c:v>34.659999999999997</c:v>
                </c:pt>
                <c:pt idx="1660">
                  <c:v>34.56</c:v>
                </c:pt>
                <c:pt idx="1661">
                  <c:v>35.58</c:v>
                </c:pt>
                <c:pt idx="1662">
                  <c:v>35.43</c:v>
                </c:pt>
                <c:pt idx="1663">
                  <c:v>34.82</c:v>
                </c:pt>
                <c:pt idx="1664">
                  <c:v>34.950000000000003</c:v>
                </c:pt>
                <c:pt idx="1665">
                  <c:v>34.81</c:v>
                </c:pt>
                <c:pt idx="1666">
                  <c:v>34.71</c:v>
                </c:pt>
                <c:pt idx="1667">
                  <c:v>34.25</c:v>
                </c:pt>
                <c:pt idx="1668">
                  <c:v>33.24</c:v>
                </c:pt>
                <c:pt idx="1669">
                  <c:v>32.61</c:v>
                </c:pt>
                <c:pt idx="1670">
                  <c:v>33.22</c:v>
                </c:pt>
                <c:pt idx="1671">
                  <c:v>35.58</c:v>
                </c:pt>
                <c:pt idx="1672">
                  <c:v>35.36</c:v>
                </c:pt>
                <c:pt idx="1673">
                  <c:v>35.729999999999997</c:v>
                </c:pt>
                <c:pt idx="1674">
                  <c:v>36.47</c:v>
                </c:pt>
                <c:pt idx="1675">
                  <c:v>35.619999999999997</c:v>
                </c:pt>
                <c:pt idx="1676">
                  <c:v>37.130000000000003</c:v>
                </c:pt>
                <c:pt idx="1677">
                  <c:v>37.58</c:v>
                </c:pt>
                <c:pt idx="1678">
                  <c:v>37.729999999999997</c:v>
                </c:pt>
                <c:pt idx="1679">
                  <c:v>36.68</c:v>
                </c:pt>
                <c:pt idx="1680">
                  <c:v>37.51</c:v>
                </c:pt>
                <c:pt idx="1681">
                  <c:v>38.409999999999997</c:v>
                </c:pt>
                <c:pt idx="1682">
                  <c:v>38.49</c:v>
                </c:pt>
                <c:pt idx="1683">
                  <c:v>39.07</c:v>
                </c:pt>
                <c:pt idx="1684">
                  <c:v>38.96</c:v>
                </c:pt>
                <c:pt idx="1685">
                  <c:v>38.479999999999997</c:v>
                </c:pt>
                <c:pt idx="1686">
                  <c:v>39.159999999999997</c:v>
                </c:pt>
                <c:pt idx="1687">
                  <c:v>39.590000000000003</c:v>
                </c:pt>
                <c:pt idx="1688">
                  <c:v>39.75</c:v>
                </c:pt>
                <c:pt idx="1689">
                  <c:v>40.090000000000003</c:v>
                </c:pt>
                <c:pt idx="1690">
                  <c:v>41.08</c:v>
                </c:pt>
                <c:pt idx="1691">
                  <c:v>40.93</c:v>
                </c:pt>
                <c:pt idx="1692">
                  <c:v>41.47</c:v>
                </c:pt>
                <c:pt idx="1693">
                  <c:v>41.35</c:v>
                </c:pt>
                <c:pt idx="1694">
                  <c:v>41.82</c:v>
                </c:pt>
                <c:pt idx="1695">
                  <c:v>41.75</c:v>
                </c:pt>
                <c:pt idx="1696">
                  <c:v>42.49</c:v>
                </c:pt>
                <c:pt idx="1697">
                  <c:v>42.63</c:v>
                </c:pt>
                <c:pt idx="1698">
                  <c:v>43.21</c:v>
                </c:pt>
                <c:pt idx="1699">
                  <c:v>42.5</c:v>
                </c:pt>
                <c:pt idx="1700">
                  <c:v>42.45</c:v>
                </c:pt>
                <c:pt idx="1701">
                  <c:v>43.5</c:v>
                </c:pt>
                <c:pt idx="1702">
                  <c:v>44.13</c:v>
                </c:pt>
                <c:pt idx="1703">
                  <c:v>44.35</c:v>
                </c:pt>
                <c:pt idx="1704">
                  <c:v>44.05</c:v>
                </c:pt>
                <c:pt idx="1705">
                  <c:v>44.12</c:v>
                </c:pt>
                <c:pt idx="1706">
                  <c:v>44.84</c:v>
                </c:pt>
                <c:pt idx="1707">
                  <c:v>45.46</c:v>
                </c:pt>
                <c:pt idx="1708">
                  <c:v>44.39</c:v>
                </c:pt>
                <c:pt idx="1709">
                  <c:v>42.99</c:v>
                </c:pt>
                <c:pt idx="1710">
                  <c:v>42.39</c:v>
                </c:pt>
                <c:pt idx="1711">
                  <c:v>40.65</c:v>
                </c:pt>
                <c:pt idx="1712">
                  <c:v>40.72</c:v>
                </c:pt>
                <c:pt idx="1713">
                  <c:v>40.78</c:v>
                </c:pt>
                <c:pt idx="1714">
                  <c:v>39.799999999999997</c:v>
                </c:pt>
                <c:pt idx="1715">
                  <c:v>40.96</c:v>
                </c:pt>
                <c:pt idx="1716">
                  <c:v>42.39</c:v>
                </c:pt>
                <c:pt idx="1717">
                  <c:v>41.07</c:v>
                </c:pt>
                <c:pt idx="1718">
                  <c:v>40.4</c:v>
                </c:pt>
                <c:pt idx="1719">
                  <c:v>40.19</c:v>
                </c:pt>
                <c:pt idx="1720">
                  <c:v>39.909999999999997</c:v>
                </c:pt>
                <c:pt idx="1721">
                  <c:v>41.45</c:v>
                </c:pt>
                <c:pt idx="1722">
                  <c:v>41.03</c:v>
                </c:pt>
                <c:pt idx="1723">
                  <c:v>40.630000000000003</c:v>
                </c:pt>
                <c:pt idx="1724">
                  <c:v>41.34</c:v>
                </c:pt>
                <c:pt idx="1725">
                  <c:v>42.03</c:v>
                </c:pt>
                <c:pt idx="1726">
                  <c:v>40.68</c:v>
                </c:pt>
                <c:pt idx="1727">
                  <c:v>43.08</c:v>
                </c:pt>
                <c:pt idx="1728">
                  <c:v>43.6</c:v>
                </c:pt>
                <c:pt idx="1729">
                  <c:v>44.56</c:v>
                </c:pt>
                <c:pt idx="1730">
                  <c:v>45.66</c:v>
                </c:pt>
                <c:pt idx="1731">
                  <c:v>46.53</c:v>
                </c:pt>
                <c:pt idx="1732">
                  <c:v>46.13</c:v>
                </c:pt>
                <c:pt idx="1733">
                  <c:v>46.87</c:v>
                </c:pt>
                <c:pt idx="1734">
                  <c:v>47.52</c:v>
                </c:pt>
                <c:pt idx="1735">
                  <c:v>46.54</c:v>
                </c:pt>
                <c:pt idx="1736">
                  <c:v>47.76</c:v>
                </c:pt>
                <c:pt idx="1737">
                  <c:v>46.86</c:v>
                </c:pt>
                <c:pt idx="1738">
                  <c:v>46.99</c:v>
                </c:pt>
                <c:pt idx="1739">
                  <c:v>47.1</c:v>
                </c:pt>
                <c:pt idx="1740">
                  <c:v>47.95</c:v>
                </c:pt>
                <c:pt idx="1741">
                  <c:v>48.98</c:v>
                </c:pt>
                <c:pt idx="1742">
                  <c:v>49.41</c:v>
                </c:pt>
                <c:pt idx="1743">
                  <c:v>50.75</c:v>
                </c:pt>
                <c:pt idx="1744">
                  <c:v>51.28</c:v>
                </c:pt>
                <c:pt idx="1745">
                  <c:v>50.42</c:v>
                </c:pt>
                <c:pt idx="1746">
                  <c:v>51.31</c:v>
                </c:pt>
                <c:pt idx="1747">
                  <c:v>51.02</c:v>
                </c:pt>
                <c:pt idx="1748">
                  <c:v>49.16</c:v>
                </c:pt>
                <c:pt idx="1749">
                  <c:v>49.21</c:v>
                </c:pt>
                <c:pt idx="1750">
                  <c:v>50.78</c:v>
                </c:pt>
                <c:pt idx="1751">
                  <c:v>51.06</c:v>
                </c:pt>
                <c:pt idx="1752">
                  <c:v>52.28</c:v>
                </c:pt>
                <c:pt idx="1753">
                  <c:v>51.68</c:v>
                </c:pt>
                <c:pt idx="1754">
                  <c:v>52.04</c:v>
                </c:pt>
                <c:pt idx="1755">
                  <c:v>49.99</c:v>
                </c:pt>
                <c:pt idx="1756">
                  <c:v>48.88</c:v>
                </c:pt>
                <c:pt idx="1757">
                  <c:v>48.16</c:v>
                </c:pt>
                <c:pt idx="1758">
                  <c:v>46.84</c:v>
                </c:pt>
                <c:pt idx="1759">
                  <c:v>46.25</c:v>
                </c:pt>
                <c:pt idx="1760">
                  <c:v>46.14</c:v>
                </c:pt>
                <c:pt idx="1761">
                  <c:v>45.32</c:v>
                </c:pt>
                <c:pt idx="1762">
                  <c:v>44.37</c:v>
                </c:pt>
                <c:pt idx="1763">
                  <c:v>44.78</c:v>
                </c:pt>
                <c:pt idx="1764">
                  <c:v>43.27</c:v>
                </c:pt>
                <c:pt idx="1765">
                  <c:v>42.57</c:v>
                </c:pt>
                <c:pt idx="1766">
                  <c:v>42.22</c:v>
                </c:pt>
                <c:pt idx="1767">
                  <c:v>41.33</c:v>
                </c:pt>
                <c:pt idx="1768">
                  <c:v>39.32</c:v>
                </c:pt>
                <c:pt idx="1769">
                  <c:v>40.479999999999997</c:v>
                </c:pt>
                <c:pt idx="1770">
                  <c:v>40.270000000000003</c:v>
                </c:pt>
                <c:pt idx="1771">
                  <c:v>40.799999999999997</c:v>
                </c:pt>
                <c:pt idx="1772">
                  <c:v>42.29</c:v>
                </c:pt>
                <c:pt idx="1773">
                  <c:v>42.26</c:v>
                </c:pt>
                <c:pt idx="1774">
                  <c:v>43.03</c:v>
                </c:pt>
                <c:pt idx="1775">
                  <c:v>42.62</c:v>
                </c:pt>
                <c:pt idx="1776">
                  <c:v>43.12</c:v>
                </c:pt>
                <c:pt idx="1777">
                  <c:v>42.87</c:v>
                </c:pt>
                <c:pt idx="1778">
                  <c:v>44.05</c:v>
                </c:pt>
                <c:pt idx="1779">
                  <c:v>44.23</c:v>
                </c:pt>
                <c:pt idx="1780">
                  <c:v>41.19</c:v>
                </c:pt>
                <c:pt idx="1781">
                  <c:v>38.49</c:v>
                </c:pt>
                <c:pt idx="1782">
                  <c:v>38.57</c:v>
                </c:pt>
                <c:pt idx="1783">
                  <c:v>38.43</c:v>
                </c:pt>
                <c:pt idx="1784">
                  <c:v>37.11</c:v>
                </c:pt>
                <c:pt idx="1785">
                  <c:v>36.9</c:v>
                </c:pt>
                <c:pt idx="1786">
                  <c:v>38.33</c:v>
                </c:pt>
                <c:pt idx="1787">
                  <c:v>37.24</c:v>
                </c:pt>
                <c:pt idx="1788">
                  <c:v>36.770000000000003</c:v>
                </c:pt>
                <c:pt idx="1789">
                  <c:v>37.03</c:v>
                </c:pt>
                <c:pt idx="1790">
                  <c:v>41.53</c:v>
                </c:pt>
                <c:pt idx="1791">
                  <c:v>41.49</c:v>
                </c:pt>
                <c:pt idx="1792">
                  <c:v>43.06</c:v>
                </c:pt>
                <c:pt idx="1793">
                  <c:v>42.67</c:v>
                </c:pt>
                <c:pt idx="1794">
                  <c:v>42.76</c:v>
                </c:pt>
                <c:pt idx="1795">
                  <c:v>40.44</c:v>
                </c:pt>
                <c:pt idx="1796">
                  <c:v>40.29</c:v>
                </c:pt>
                <c:pt idx="1797">
                  <c:v>39.6</c:v>
                </c:pt>
                <c:pt idx="1798">
                  <c:v>39.6</c:v>
                </c:pt>
                <c:pt idx="1799">
                  <c:v>40.24</c:v>
                </c:pt>
                <c:pt idx="1800">
                  <c:v>38.93</c:v>
                </c:pt>
                <c:pt idx="1801">
                  <c:v>39.799999999999997</c:v>
                </c:pt>
                <c:pt idx="1802">
                  <c:v>40.380000000000003</c:v>
                </c:pt>
                <c:pt idx="1804">
                  <c:v>40.75</c:v>
                </c:pt>
                <c:pt idx="1805">
                  <c:v>41</c:v>
                </c:pt>
                <c:pt idx="1806">
                  <c:v>43.25</c:v>
                </c:pt>
                <c:pt idx="1807">
                  <c:v>43.28</c:v>
                </c:pt>
                <c:pt idx="1808">
                  <c:v>44.71</c:v>
                </c:pt>
                <c:pt idx="1809">
                  <c:v>43.45</c:v>
                </c:pt>
                <c:pt idx="1810">
                  <c:v>43.75</c:v>
                </c:pt>
                <c:pt idx="1811">
                  <c:v>45.76</c:v>
                </c:pt>
                <c:pt idx="1812">
                  <c:v>45.26</c:v>
                </c:pt>
                <c:pt idx="1813">
                  <c:v>45.1</c:v>
                </c:pt>
                <c:pt idx="1814">
                  <c:v>45.18</c:v>
                </c:pt>
                <c:pt idx="1815">
                  <c:v>45.16</c:v>
                </c:pt>
                <c:pt idx="1816">
                  <c:v>44.06</c:v>
                </c:pt>
                <c:pt idx="1817">
                  <c:v>45.88</c:v>
                </c:pt>
                <c:pt idx="1818">
                  <c:v>45.74</c:v>
                </c:pt>
                <c:pt idx="1819">
                  <c:v>46.14</c:v>
                </c:pt>
                <c:pt idx="1820">
                  <c:v>45.94</c:v>
                </c:pt>
                <c:pt idx="1821">
                  <c:v>46.51</c:v>
                </c:pt>
                <c:pt idx="1822">
                  <c:v>44.75</c:v>
                </c:pt>
                <c:pt idx="1823">
                  <c:v>44.51</c:v>
                </c:pt>
                <c:pt idx="1824">
                  <c:v>45.12</c:v>
                </c:pt>
                <c:pt idx="1825">
                  <c:v>44.17</c:v>
                </c:pt>
                <c:pt idx="1826">
                  <c:v>43.13</c:v>
                </c:pt>
                <c:pt idx="1827">
                  <c:v>43.26</c:v>
                </c:pt>
                <c:pt idx="1828">
                  <c:v>42.7</c:v>
                </c:pt>
                <c:pt idx="1829">
                  <c:v>42.79</c:v>
                </c:pt>
                <c:pt idx="1830">
                  <c:v>42.49</c:v>
                </c:pt>
                <c:pt idx="1831">
                  <c:v>44.04</c:v>
                </c:pt>
                <c:pt idx="1832">
                  <c:v>44.41</c:v>
                </c:pt>
                <c:pt idx="1833">
                  <c:v>44.51</c:v>
                </c:pt>
                <c:pt idx="1834">
                  <c:v>44.91</c:v>
                </c:pt>
                <c:pt idx="1835">
                  <c:v>45.42</c:v>
                </c:pt>
                <c:pt idx="1836">
                  <c:v>45.42</c:v>
                </c:pt>
                <c:pt idx="1837">
                  <c:v>45.86</c:v>
                </c:pt>
                <c:pt idx="1838">
                  <c:v>46.09</c:v>
                </c:pt>
                <c:pt idx="1839">
                  <c:v>47.6</c:v>
                </c:pt>
                <c:pt idx="1840">
                  <c:v>48.16</c:v>
                </c:pt>
                <c:pt idx="1841">
                  <c:v>49.24</c:v>
                </c:pt>
                <c:pt idx="1842">
                  <c:v>50.05</c:v>
                </c:pt>
                <c:pt idx="1843">
                  <c:v>50.13</c:v>
                </c:pt>
                <c:pt idx="1844">
                  <c:v>50.47</c:v>
                </c:pt>
                <c:pt idx="1845">
                  <c:v>51.05</c:v>
                </c:pt>
                <c:pt idx="1846">
                  <c:v>52.89</c:v>
                </c:pt>
                <c:pt idx="1847">
                  <c:v>52.1</c:v>
                </c:pt>
                <c:pt idx="1848">
                  <c:v>51.87</c:v>
                </c:pt>
                <c:pt idx="1849">
                  <c:v>53.29</c:v>
                </c:pt>
                <c:pt idx="1850">
                  <c:v>54.11</c:v>
                </c:pt>
                <c:pt idx="1851">
                  <c:v>53.04</c:v>
                </c:pt>
                <c:pt idx="1852">
                  <c:v>53.15</c:v>
                </c:pt>
                <c:pt idx="1853">
                  <c:v>53.68</c:v>
                </c:pt>
                <c:pt idx="1854">
                  <c:v>53.97</c:v>
                </c:pt>
                <c:pt idx="1855">
                  <c:v>54.61</c:v>
                </c:pt>
                <c:pt idx="1856">
                  <c:v>56.03</c:v>
                </c:pt>
                <c:pt idx="1857">
                  <c:v>55.97</c:v>
                </c:pt>
                <c:pt idx="1858">
                  <c:v>55.79</c:v>
                </c:pt>
                <c:pt idx="1859">
                  <c:v>55.39</c:v>
                </c:pt>
                <c:pt idx="1860">
                  <c:v>51.52</c:v>
                </c:pt>
                <c:pt idx="1861">
                  <c:v>52.35</c:v>
                </c:pt>
                <c:pt idx="1862">
                  <c:v>51.75</c:v>
                </c:pt>
                <c:pt idx="1863">
                  <c:v>51.42</c:v>
                </c:pt>
                <c:pt idx="1864">
                  <c:v>50.63</c:v>
                </c:pt>
                <c:pt idx="1865">
                  <c:v>53.22</c:v>
                </c:pt>
                <c:pt idx="1866">
                  <c:v>54.14</c:v>
                </c:pt>
                <c:pt idx="1867">
                  <c:v>55.92</c:v>
                </c:pt>
                <c:pt idx="1868">
                  <c:v>54.53</c:v>
                </c:pt>
                <c:pt idx="1869">
                  <c:v>54.08</c:v>
                </c:pt>
                <c:pt idx="1870">
                  <c:v>52.57</c:v>
                </c:pt>
                <c:pt idx="1871">
                  <c:v>51.83</c:v>
                </c:pt>
                <c:pt idx="1872">
                  <c:v>51.21</c:v>
                </c:pt>
                <c:pt idx="1873">
                  <c:v>51.53</c:v>
                </c:pt>
                <c:pt idx="1874">
                  <c:v>49.67</c:v>
                </c:pt>
                <c:pt idx="1875">
                  <c:v>50.21</c:v>
                </c:pt>
                <c:pt idx="1876">
                  <c:v>49.52</c:v>
                </c:pt>
                <c:pt idx="1877">
                  <c:v>48.58</c:v>
                </c:pt>
                <c:pt idx="1878">
                  <c:v>50.79</c:v>
                </c:pt>
                <c:pt idx="1879">
                  <c:v>51.53</c:v>
                </c:pt>
                <c:pt idx="1880">
                  <c:v>51.73</c:v>
                </c:pt>
                <c:pt idx="1881">
                  <c:v>53.51</c:v>
                </c:pt>
                <c:pt idx="1882">
                  <c:v>53.1</c:v>
                </c:pt>
                <c:pt idx="1883">
                  <c:v>52.47</c:v>
                </c:pt>
                <c:pt idx="1884">
                  <c:v>51.29</c:v>
                </c:pt>
                <c:pt idx="1885">
                  <c:v>50.74</c:v>
                </c:pt>
                <c:pt idx="1886">
                  <c:v>50.61</c:v>
                </c:pt>
                <c:pt idx="1887">
                  <c:v>50.89</c:v>
                </c:pt>
                <c:pt idx="1888">
                  <c:v>49.48</c:v>
                </c:pt>
                <c:pt idx="1889">
                  <c:v>50.36</c:v>
                </c:pt>
                <c:pt idx="1890">
                  <c:v>49.81</c:v>
                </c:pt>
                <c:pt idx="1891">
                  <c:v>49.7</c:v>
                </c:pt>
                <c:pt idx="1892">
                  <c:v>49.71</c:v>
                </c:pt>
                <c:pt idx="1893">
                  <c:v>50.61</c:v>
                </c:pt>
                <c:pt idx="1894">
                  <c:v>48.91</c:v>
                </c:pt>
                <c:pt idx="1895">
                  <c:v>47.4</c:v>
                </c:pt>
                <c:pt idx="1896">
                  <c:v>46.85</c:v>
                </c:pt>
                <c:pt idx="1897">
                  <c:v>46.42</c:v>
                </c:pt>
                <c:pt idx="1898">
                  <c:v>47.31</c:v>
                </c:pt>
                <c:pt idx="1899">
                  <c:v>47.35</c:v>
                </c:pt>
                <c:pt idx="1900">
                  <c:v>46.92</c:v>
                </c:pt>
                <c:pt idx="1901">
                  <c:v>46.91</c:v>
                </c:pt>
                <c:pt idx="1902">
                  <c:v>47.28</c:v>
                </c:pt>
                <c:pt idx="1903">
                  <c:v>47.29</c:v>
                </c:pt>
                <c:pt idx="1904">
                  <c:v>49.24</c:v>
                </c:pt>
                <c:pt idx="1905">
                  <c:v>49.71</c:v>
                </c:pt>
                <c:pt idx="1906">
                  <c:v>49.42</c:v>
                </c:pt>
                <c:pt idx="1907">
                  <c:v>49.33</c:v>
                </c:pt>
                <c:pt idx="1908">
                  <c:v>49.3</c:v>
                </c:pt>
                <c:pt idx="1909">
                  <c:v>50.46</c:v>
                </c:pt>
                <c:pt idx="1910">
                  <c:v>51.3</c:v>
                </c:pt>
                <c:pt idx="1911">
                  <c:v>51.9</c:v>
                </c:pt>
                <c:pt idx="1912">
                  <c:v>52.61</c:v>
                </c:pt>
                <c:pt idx="1913">
                  <c:v>51.62</c:v>
                </c:pt>
                <c:pt idx="1914">
                  <c:v>51.92</c:v>
                </c:pt>
                <c:pt idx="1915">
                  <c:v>51.36</c:v>
                </c:pt>
                <c:pt idx="1916">
                  <c:v>51.98</c:v>
                </c:pt>
                <c:pt idx="1917">
                  <c:v>52</c:v>
                </c:pt>
                <c:pt idx="1918">
                  <c:v>53.52</c:v>
                </c:pt>
                <c:pt idx="1919">
                  <c:v>54.12</c:v>
                </c:pt>
                <c:pt idx="1920">
                  <c:v>54.3</c:v>
                </c:pt>
                <c:pt idx="1921">
                  <c:v>56.92</c:v>
                </c:pt>
                <c:pt idx="1922">
                  <c:v>57.1</c:v>
                </c:pt>
                <c:pt idx="1923">
                  <c:v>57.36</c:v>
                </c:pt>
                <c:pt idx="1924">
                  <c:v>56.06</c:v>
                </c:pt>
                <c:pt idx="1925">
                  <c:v>57.03</c:v>
                </c:pt>
                <c:pt idx="1926">
                  <c:v>57.21</c:v>
                </c:pt>
                <c:pt idx="1927">
                  <c:v>58.5</c:v>
                </c:pt>
                <c:pt idx="1928">
                  <c:v>57.75</c:v>
                </c:pt>
                <c:pt idx="1929">
                  <c:v>55.42</c:v>
                </c:pt>
                <c:pt idx="1930">
                  <c:v>55.36</c:v>
                </c:pt>
                <c:pt idx="1931">
                  <c:v>56.41</c:v>
                </c:pt>
                <c:pt idx="1932">
                  <c:v>57.13</c:v>
                </c:pt>
                <c:pt idx="1933">
                  <c:v>57.86</c:v>
                </c:pt>
                <c:pt idx="1934">
                  <c:v>58.38</c:v>
                </c:pt>
                <c:pt idx="1935">
                  <c:v>57.55</c:v>
                </c:pt>
                <c:pt idx="1936">
                  <c:v>59</c:v>
                </c:pt>
                <c:pt idx="1937">
                  <c:v>56.1</c:v>
                </c:pt>
                <c:pt idx="1938">
                  <c:v>58.95</c:v>
                </c:pt>
                <c:pt idx="1939">
                  <c:v>58.33</c:v>
                </c:pt>
                <c:pt idx="1940">
                  <c:v>56.79</c:v>
                </c:pt>
                <c:pt idx="1941">
                  <c:v>56.98</c:v>
                </c:pt>
                <c:pt idx="1942">
                  <c:v>56.25</c:v>
                </c:pt>
                <c:pt idx="1943">
                  <c:v>56.75</c:v>
                </c:pt>
                <c:pt idx="1944">
                  <c:v>56.39</c:v>
                </c:pt>
                <c:pt idx="1945">
                  <c:v>55.59</c:v>
                </c:pt>
                <c:pt idx="1946">
                  <c:v>56.98</c:v>
                </c:pt>
                <c:pt idx="1947">
                  <c:v>57.51</c:v>
                </c:pt>
                <c:pt idx="1948">
                  <c:v>58.58</c:v>
                </c:pt>
                <c:pt idx="1949">
                  <c:v>58.34</c:v>
                </c:pt>
                <c:pt idx="1950">
                  <c:v>58.28</c:v>
                </c:pt>
                <c:pt idx="1951">
                  <c:v>59.77</c:v>
                </c:pt>
                <c:pt idx="1952">
                  <c:v>60.56</c:v>
                </c:pt>
                <c:pt idx="1953">
                  <c:v>60.13</c:v>
                </c:pt>
                <c:pt idx="1954">
                  <c:v>60.04</c:v>
                </c:pt>
                <c:pt idx="1955">
                  <c:v>60.62</c:v>
                </c:pt>
                <c:pt idx="1956">
                  <c:v>60.73</c:v>
                </c:pt>
                <c:pt idx="1957">
                  <c:v>62.56</c:v>
                </c:pt>
                <c:pt idx="1958">
                  <c:v>62.79</c:v>
                </c:pt>
                <c:pt idx="1959">
                  <c:v>63.77</c:v>
                </c:pt>
                <c:pt idx="1960">
                  <c:v>65.900000000000006</c:v>
                </c:pt>
                <c:pt idx="1961">
                  <c:v>67.260000000000005</c:v>
                </c:pt>
                <c:pt idx="1962">
                  <c:v>66.680000000000007</c:v>
                </c:pt>
                <c:pt idx="1963">
                  <c:v>65.099999999999994</c:v>
                </c:pt>
                <c:pt idx="1964">
                  <c:v>63.41</c:v>
                </c:pt>
                <c:pt idx="1965">
                  <c:v>61.75</c:v>
                </c:pt>
                <c:pt idx="1966">
                  <c:v>64.209999999999994</c:v>
                </c:pt>
                <c:pt idx="1967">
                  <c:v>65.87</c:v>
                </c:pt>
                <c:pt idx="1968">
                  <c:v>65.16</c:v>
                </c:pt>
                <c:pt idx="1969">
                  <c:v>65.25</c:v>
                </c:pt>
                <c:pt idx="1970">
                  <c:v>65.88</c:v>
                </c:pt>
                <c:pt idx="1971">
                  <c:v>66.23</c:v>
                </c:pt>
                <c:pt idx="1972">
                  <c:v>64.77</c:v>
                </c:pt>
                <c:pt idx="1973">
                  <c:v>66.150000000000006</c:v>
                </c:pt>
                <c:pt idx="1974">
                  <c:v>66.8</c:v>
                </c:pt>
                <c:pt idx="1975">
                  <c:v>66.790000000000006</c:v>
                </c:pt>
                <c:pt idx="1976">
                  <c:v>65.95</c:v>
                </c:pt>
                <c:pt idx="1977">
                  <c:v>64.16</c:v>
                </c:pt>
                <c:pt idx="1978">
                  <c:v>64.16</c:v>
                </c:pt>
                <c:pt idx="1979">
                  <c:v>63.6</c:v>
                </c:pt>
                <c:pt idx="1980">
                  <c:v>61.66</c:v>
                </c:pt>
                <c:pt idx="1981">
                  <c:v>62.62</c:v>
                </c:pt>
                <c:pt idx="1982">
                  <c:v>60.69</c:v>
                </c:pt>
                <c:pt idx="1983">
                  <c:v>61.31</c:v>
                </c:pt>
                <c:pt idx="1984">
                  <c:v>61.7</c:v>
                </c:pt>
                <c:pt idx="1985">
                  <c:v>61.9</c:v>
                </c:pt>
                <c:pt idx="1986">
                  <c:v>60.48</c:v>
                </c:pt>
                <c:pt idx="1987">
                  <c:v>64.040000000000006</c:v>
                </c:pt>
                <c:pt idx="1988">
                  <c:v>62.98</c:v>
                </c:pt>
                <c:pt idx="1989">
                  <c:v>64.31</c:v>
                </c:pt>
                <c:pt idx="1990">
                  <c:v>64.64</c:v>
                </c:pt>
                <c:pt idx="1991">
                  <c:v>62.17</c:v>
                </c:pt>
                <c:pt idx="1992">
                  <c:v>61.73</c:v>
                </c:pt>
                <c:pt idx="1993">
                  <c:v>62.56</c:v>
                </c:pt>
                <c:pt idx="1994">
                  <c:v>62.81</c:v>
                </c:pt>
                <c:pt idx="1995">
                  <c:v>62.02</c:v>
                </c:pt>
                <c:pt idx="1996">
                  <c:v>61.7</c:v>
                </c:pt>
                <c:pt idx="1997">
                  <c:v>61.64</c:v>
                </c:pt>
                <c:pt idx="1998">
                  <c:v>59.17</c:v>
                </c:pt>
                <c:pt idx="1999">
                  <c:v>59.33</c:v>
                </c:pt>
                <c:pt idx="2000">
                  <c:v>57.2</c:v>
                </c:pt>
                <c:pt idx="2001">
                  <c:v>57.29</c:v>
                </c:pt>
                <c:pt idx="2002">
                  <c:v>57.01</c:v>
                </c:pt>
                <c:pt idx="2003">
                  <c:v>58.1</c:v>
                </c:pt>
                <c:pt idx="2004">
                  <c:v>59.91</c:v>
                </c:pt>
                <c:pt idx="2005">
                  <c:v>59.48</c:v>
                </c:pt>
                <c:pt idx="2006">
                  <c:v>58.45</c:v>
                </c:pt>
                <c:pt idx="2007">
                  <c:v>59.81</c:v>
                </c:pt>
                <c:pt idx="2008">
                  <c:v>58.85</c:v>
                </c:pt>
                <c:pt idx="2009">
                  <c:v>58.13</c:v>
                </c:pt>
                <c:pt idx="2010">
                  <c:v>57.04</c:v>
                </c:pt>
                <c:pt idx="2011">
                  <c:v>56.94</c:v>
                </c:pt>
                <c:pt idx="2012">
                  <c:v>57.64</c:v>
                </c:pt>
                <c:pt idx="2013">
                  <c:v>58.72</c:v>
                </c:pt>
                <c:pt idx="2014">
                  <c:v>58.56</c:v>
                </c:pt>
                <c:pt idx="2015">
                  <c:v>58.1</c:v>
                </c:pt>
                <c:pt idx="2016">
                  <c:v>59.47</c:v>
                </c:pt>
                <c:pt idx="2017">
                  <c:v>58.47</c:v>
                </c:pt>
                <c:pt idx="2018">
                  <c:v>56.69</c:v>
                </c:pt>
                <c:pt idx="2019">
                  <c:v>58.53</c:v>
                </c:pt>
                <c:pt idx="2020">
                  <c:v>59.55</c:v>
                </c:pt>
                <c:pt idx="2021">
                  <c:v>60.48</c:v>
                </c:pt>
                <c:pt idx="2022">
                  <c:v>58.19</c:v>
                </c:pt>
                <c:pt idx="2023">
                  <c:v>57.89</c:v>
                </c:pt>
                <c:pt idx="2024">
                  <c:v>57.71</c:v>
                </c:pt>
                <c:pt idx="2025">
                  <c:v>55.85</c:v>
                </c:pt>
                <c:pt idx="2026">
                  <c:v>54.3</c:v>
                </c:pt>
                <c:pt idx="2027">
                  <c:v>54.1</c:v>
                </c:pt>
                <c:pt idx="2028">
                  <c:v>54.45</c:v>
                </c:pt>
                <c:pt idx="2029">
                  <c:v>53.68</c:v>
                </c:pt>
                <c:pt idx="2030">
                  <c:v>53.8</c:v>
                </c:pt>
                <c:pt idx="2031">
                  <c:v>52.84</c:v>
                </c:pt>
                <c:pt idx="2032">
                  <c:v>53.36</c:v>
                </c:pt>
                <c:pt idx="2033">
                  <c:v>54.21</c:v>
                </c:pt>
                <c:pt idx="2034">
                  <c:v>53.73</c:v>
                </c:pt>
                <c:pt idx="2035">
                  <c:v>53.41</c:v>
                </c:pt>
                <c:pt idx="2036">
                  <c:v>53.15</c:v>
                </c:pt>
                <c:pt idx="2037">
                  <c:v>52.91</c:v>
                </c:pt>
                <c:pt idx="2038">
                  <c:v>53.24</c:v>
                </c:pt>
                <c:pt idx="2039">
                  <c:v>53.25</c:v>
                </c:pt>
                <c:pt idx="2040">
                  <c:v>53.65</c:v>
                </c:pt>
                <c:pt idx="2041">
                  <c:v>54.91</c:v>
                </c:pt>
                <c:pt idx="2042">
                  <c:v>56.05</c:v>
                </c:pt>
                <c:pt idx="2043">
                  <c:v>55.68</c:v>
                </c:pt>
                <c:pt idx="2044">
                  <c:v>55.17</c:v>
                </c:pt>
                <c:pt idx="2045">
                  <c:v>56.26</c:v>
                </c:pt>
                <c:pt idx="2046">
                  <c:v>57.18</c:v>
                </c:pt>
                <c:pt idx="2047">
                  <c:v>57.23</c:v>
                </c:pt>
                <c:pt idx="2048">
                  <c:v>59.16</c:v>
                </c:pt>
                <c:pt idx="2049">
                  <c:v>59.59</c:v>
                </c:pt>
                <c:pt idx="2050">
                  <c:v>59.67</c:v>
                </c:pt>
                <c:pt idx="2051">
                  <c:v>58.11</c:v>
                </c:pt>
                <c:pt idx="2052">
                  <c:v>56.09</c:v>
                </c:pt>
                <c:pt idx="2053">
                  <c:v>56.08</c:v>
                </c:pt>
                <c:pt idx="2054">
                  <c:v>56.05</c:v>
                </c:pt>
                <c:pt idx="2055">
                  <c:v>57.3</c:v>
                </c:pt>
                <c:pt idx="2056">
                  <c:v>56.28</c:v>
                </c:pt>
                <c:pt idx="2057">
                  <c:v>56.54</c:v>
                </c:pt>
                <c:pt idx="2059">
                  <c:v>56.91</c:v>
                </c:pt>
                <c:pt idx="2060">
                  <c:v>57.72</c:v>
                </c:pt>
                <c:pt idx="2061">
                  <c:v>58.34</c:v>
                </c:pt>
                <c:pt idx="2062">
                  <c:v>61.51</c:v>
                </c:pt>
                <c:pt idx="2063">
                  <c:v>61.25</c:v>
                </c:pt>
                <c:pt idx="2064">
                  <c:v>61.68</c:v>
                </c:pt>
                <c:pt idx="2065">
                  <c:v>62.43</c:v>
                </c:pt>
                <c:pt idx="2066">
                  <c:v>62.51</c:v>
                </c:pt>
                <c:pt idx="2067">
                  <c:v>62.32</c:v>
                </c:pt>
                <c:pt idx="2068">
                  <c:v>61.54</c:v>
                </c:pt>
                <c:pt idx="2069">
                  <c:v>62.95</c:v>
                </c:pt>
                <c:pt idx="2070">
                  <c:v>61.58</c:v>
                </c:pt>
                <c:pt idx="2071">
                  <c:v>62.34</c:v>
                </c:pt>
                <c:pt idx="2072">
                  <c:v>63.22</c:v>
                </c:pt>
                <c:pt idx="2073">
                  <c:v>63.6</c:v>
                </c:pt>
                <c:pt idx="2074">
                  <c:v>63.64</c:v>
                </c:pt>
                <c:pt idx="2075">
                  <c:v>64.92</c:v>
                </c:pt>
                <c:pt idx="2076">
                  <c:v>64.56</c:v>
                </c:pt>
                <c:pt idx="2077">
                  <c:v>63.82</c:v>
                </c:pt>
                <c:pt idx="2078">
                  <c:v>62.61</c:v>
                </c:pt>
                <c:pt idx="2079">
                  <c:v>62.93</c:v>
                </c:pt>
                <c:pt idx="2080">
                  <c:v>64.95</c:v>
                </c:pt>
                <c:pt idx="2081">
                  <c:v>65.14</c:v>
                </c:pt>
                <c:pt idx="2082">
                  <c:v>63.19</c:v>
                </c:pt>
                <c:pt idx="2083">
                  <c:v>65.64</c:v>
                </c:pt>
                <c:pt idx="2084">
                  <c:v>63.49</c:v>
                </c:pt>
                <c:pt idx="2085">
                  <c:v>62.54</c:v>
                </c:pt>
                <c:pt idx="2086">
                  <c:v>63.32</c:v>
                </c:pt>
                <c:pt idx="2087">
                  <c:v>61.64</c:v>
                </c:pt>
                <c:pt idx="2088">
                  <c:v>60.82</c:v>
                </c:pt>
                <c:pt idx="2089">
                  <c:v>60.7</c:v>
                </c:pt>
                <c:pt idx="2090">
                  <c:v>59.66</c:v>
                </c:pt>
                <c:pt idx="2091">
                  <c:v>59.16</c:v>
                </c:pt>
                <c:pt idx="2092">
                  <c:v>58.27</c:v>
                </c:pt>
                <c:pt idx="2093">
                  <c:v>57.67</c:v>
                </c:pt>
                <c:pt idx="2094">
                  <c:v>56.78</c:v>
                </c:pt>
                <c:pt idx="2095">
                  <c:v>58.34</c:v>
                </c:pt>
                <c:pt idx="2096">
                  <c:v>60.05</c:v>
                </c:pt>
                <c:pt idx="2097">
                  <c:v>59.35</c:v>
                </c:pt>
                <c:pt idx="2098">
                  <c:v>58.71</c:v>
                </c:pt>
                <c:pt idx="2099">
                  <c:v>58.71</c:v>
                </c:pt>
                <c:pt idx="2100">
                  <c:v>60.13</c:v>
                </c:pt>
                <c:pt idx="2101">
                  <c:v>59.44</c:v>
                </c:pt>
                <c:pt idx="2102">
                  <c:v>59.78</c:v>
                </c:pt>
                <c:pt idx="2103">
                  <c:v>61.12</c:v>
                </c:pt>
                <c:pt idx="2104">
                  <c:v>62.27</c:v>
                </c:pt>
                <c:pt idx="2105">
                  <c:v>62.69</c:v>
                </c:pt>
                <c:pt idx="2106">
                  <c:v>61.41</c:v>
                </c:pt>
                <c:pt idx="2107">
                  <c:v>59.79</c:v>
                </c:pt>
                <c:pt idx="2108">
                  <c:v>58.42</c:v>
                </c:pt>
                <c:pt idx="2109">
                  <c:v>58.82</c:v>
                </c:pt>
                <c:pt idx="2110">
                  <c:v>59.04</c:v>
                </c:pt>
                <c:pt idx="2111">
                  <c:v>60.99</c:v>
                </c:pt>
                <c:pt idx="2112">
                  <c:v>62.39</c:v>
                </c:pt>
                <c:pt idx="2113">
                  <c:v>63.12</c:v>
                </c:pt>
                <c:pt idx="2114">
                  <c:v>62.07</c:v>
                </c:pt>
                <c:pt idx="2115">
                  <c:v>63.54</c:v>
                </c:pt>
                <c:pt idx="2116">
                  <c:v>62.3</c:v>
                </c:pt>
                <c:pt idx="2117">
                  <c:v>59.96</c:v>
                </c:pt>
                <c:pt idx="2118">
                  <c:v>61.23</c:v>
                </c:pt>
                <c:pt idx="2119">
                  <c:v>61.76</c:v>
                </c:pt>
                <c:pt idx="2120">
                  <c:v>62.78</c:v>
                </c:pt>
                <c:pt idx="2121">
                  <c:v>62.59</c:v>
                </c:pt>
                <c:pt idx="2122">
                  <c:v>64.31</c:v>
                </c:pt>
                <c:pt idx="2123">
                  <c:v>64.88</c:v>
                </c:pt>
                <c:pt idx="2124">
                  <c:v>65.95</c:v>
                </c:pt>
                <c:pt idx="2125">
                  <c:v>66.06</c:v>
                </c:pt>
                <c:pt idx="2126">
                  <c:v>67.28</c:v>
                </c:pt>
                <c:pt idx="2127">
                  <c:v>65.930000000000007</c:v>
                </c:pt>
                <c:pt idx="2128">
                  <c:v>66.739999999999995</c:v>
                </c:pt>
                <c:pt idx="2129">
                  <c:v>67.58</c:v>
                </c:pt>
                <c:pt idx="2130">
                  <c:v>67.11</c:v>
                </c:pt>
                <c:pt idx="2131">
                  <c:v>68.2</c:v>
                </c:pt>
                <c:pt idx="2132">
                  <c:v>68.52</c:v>
                </c:pt>
                <c:pt idx="2133">
                  <c:v>69.540000000000006</c:v>
                </c:pt>
                <c:pt idx="2134">
                  <c:v>69.39</c:v>
                </c:pt>
                <c:pt idx="2136">
                  <c:v>70.97</c:v>
                </c:pt>
                <c:pt idx="2137">
                  <c:v>72.69</c:v>
                </c:pt>
                <c:pt idx="2138">
                  <c:v>72.569999999999993</c:v>
                </c:pt>
                <c:pt idx="2139">
                  <c:v>73.94</c:v>
                </c:pt>
                <c:pt idx="2140">
                  <c:v>73.959999999999994</c:v>
                </c:pt>
                <c:pt idx="2141">
                  <c:v>72.86</c:v>
                </c:pt>
                <c:pt idx="2142">
                  <c:v>73.459999999999994</c:v>
                </c:pt>
                <c:pt idx="2143">
                  <c:v>71.790000000000006</c:v>
                </c:pt>
                <c:pt idx="2144">
                  <c:v>72.150000000000006</c:v>
                </c:pt>
                <c:pt idx="2145">
                  <c:v>73.37</c:v>
                </c:pt>
                <c:pt idx="2146">
                  <c:v>74.45</c:v>
                </c:pt>
                <c:pt idx="2147">
                  <c:v>73.73</c:v>
                </c:pt>
                <c:pt idx="2148">
                  <c:v>71.84</c:v>
                </c:pt>
                <c:pt idx="2149">
                  <c:v>71.22</c:v>
                </c:pt>
                <c:pt idx="2150">
                  <c:v>68.260000000000005</c:v>
                </c:pt>
                <c:pt idx="2151">
                  <c:v>70.599999999999994</c:v>
                </c:pt>
                <c:pt idx="2152">
                  <c:v>69.83</c:v>
                </c:pt>
                <c:pt idx="2153">
                  <c:v>72.2</c:v>
                </c:pt>
                <c:pt idx="2154">
                  <c:v>71.3</c:v>
                </c:pt>
                <c:pt idx="2155">
                  <c:v>68.69</c:v>
                </c:pt>
                <c:pt idx="2156">
                  <c:v>68.66</c:v>
                </c:pt>
                <c:pt idx="2157">
                  <c:v>67.52</c:v>
                </c:pt>
                <c:pt idx="2158">
                  <c:v>67.39</c:v>
                </c:pt>
                <c:pt idx="2159">
                  <c:v>66.930000000000007</c:v>
                </c:pt>
                <c:pt idx="2160">
                  <c:v>66.52</c:v>
                </c:pt>
                <c:pt idx="2161">
                  <c:v>68.97</c:v>
                </c:pt>
                <c:pt idx="2162">
                  <c:v>68.45</c:v>
                </c:pt>
                <c:pt idx="2163">
                  <c:v>68.510000000000005</c:v>
                </c:pt>
                <c:pt idx="2164">
                  <c:v>69.88</c:v>
                </c:pt>
                <c:pt idx="2165">
                  <c:v>69.16</c:v>
                </c:pt>
                <c:pt idx="2166">
                  <c:v>69.819999999999993</c:v>
                </c:pt>
                <c:pt idx="2167">
                  <c:v>67.569999999999993</c:v>
                </c:pt>
                <c:pt idx="2168">
                  <c:v>68.77</c:v>
                </c:pt>
                <c:pt idx="2169">
                  <c:v>68.42</c:v>
                </c:pt>
                <c:pt idx="2170">
                  <c:v>69.13</c:v>
                </c:pt>
                <c:pt idx="2171">
                  <c:v>68.25</c:v>
                </c:pt>
                <c:pt idx="2172">
                  <c:v>67.17</c:v>
                </c:pt>
                <c:pt idx="2173">
                  <c:v>65.760000000000005</c:v>
                </c:pt>
                <c:pt idx="2174">
                  <c:v>69.13</c:v>
                </c:pt>
                <c:pt idx="2175">
                  <c:v>68.62</c:v>
                </c:pt>
                <c:pt idx="2176">
                  <c:v>65.67</c:v>
                </c:pt>
                <c:pt idx="2177">
                  <c:v>65.52</c:v>
                </c:pt>
                <c:pt idx="2178">
                  <c:v>66.040000000000006</c:v>
                </c:pt>
                <c:pt idx="2179">
                  <c:v>65.010000000000005</c:v>
                </c:pt>
                <c:pt idx="2180">
                  <c:v>66.400000000000006</c:v>
                </c:pt>
                <c:pt idx="2181">
                  <c:v>67.569999999999993</c:v>
                </c:pt>
                <c:pt idx="2182">
                  <c:v>68.17</c:v>
                </c:pt>
                <c:pt idx="2183">
                  <c:v>69.599999999999994</c:v>
                </c:pt>
                <c:pt idx="2184">
                  <c:v>69.91</c:v>
                </c:pt>
                <c:pt idx="2185">
                  <c:v>69.849999999999994</c:v>
                </c:pt>
                <c:pt idx="2186">
                  <c:v>71.260000000000005</c:v>
                </c:pt>
                <c:pt idx="2187">
                  <c:v>71.760000000000005</c:v>
                </c:pt>
                <c:pt idx="2188">
                  <c:v>73.02</c:v>
                </c:pt>
                <c:pt idx="2189">
                  <c:v>73.2</c:v>
                </c:pt>
                <c:pt idx="2190">
                  <c:v>73.94</c:v>
                </c:pt>
                <c:pt idx="2191">
                  <c:v>73.17</c:v>
                </c:pt>
                <c:pt idx="2192">
                  <c:v>72.88</c:v>
                </c:pt>
                <c:pt idx="2193">
                  <c:v>73.12</c:v>
                </c:pt>
                <c:pt idx="2194">
                  <c:v>74.14</c:v>
                </c:pt>
                <c:pt idx="2195">
                  <c:v>72.39</c:v>
                </c:pt>
                <c:pt idx="2196">
                  <c:v>73.14</c:v>
                </c:pt>
                <c:pt idx="2197">
                  <c:v>73.040000000000006</c:v>
                </c:pt>
                <c:pt idx="2198">
                  <c:v>75.23</c:v>
                </c:pt>
                <c:pt idx="2199">
                  <c:v>76.13</c:v>
                </c:pt>
                <c:pt idx="2200">
                  <c:v>75.12</c:v>
                </c:pt>
                <c:pt idx="2201">
                  <c:v>75.319999999999993</c:v>
                </c:pt>
                <c:pt idx="2202">
                  <c:v>71.62</c:v>
                </c:pt>
                <c:pt idx="2203">
                  <c:v>72.56</c:v>
                </c:pt>
                <c:pt idx="2204">
                  <c:v>72.959999999999994</c:v>
                </c:pt>
                <c:pt idx="2205">
                  <c:v>72.09</c:v>
                </c:pt>
                <c:pt idx="2206">
                  <c:v>72.489999999999995</c:v>
                </c:pt>
                <c:pt idx="2207">
                  <c:v>73.760000000000005</c:v>
                </c:pt>
                <c:pt idx="2208">
                  <c:v>75.36</c:v>
                </c:pt>
                <c:pt idx="2209">
                  <c:v>73.95</c:v>
                </c:pt>
                <c:pt idx="2210">
                  <c:v>74.75</c:v>
                </c:pt>
                <c:pt idx="2211">
                  <c:v>76.39</c:v>
                </c:pt>
                <c:pt idx="2212">
                  <c:v>77.63</c:v>
                </c:pt>
                <c:pt idx="2213">
                  <c:v>76.28</c:v>
                </c:pt>
                <c:pt idx="2214">
                  <c:v>76.53</c:v>
                </c:pt>
                <c:pt idx="2215">
                  <c:v>77.819999999999993</c:v>
                </c:pt>
                <c:pt idx="2216">
                  <c:v>77.930000000000007</c:v>
                </c:pt>
                <c:pt idx="2217">
                  <c:v>78.260000000000005</c:v>
                </c:pt>
                <c:pt idx="2218">
                  <c:v>75.69</c:v>
                </c:pt>
                <c:pt idx="2219">
                  <c:v>75.19</c:v>
                </c:pt>
                <c:pt idx="2220">
                  <c:v>73.78</c:v>
                </c:pt>
                <c:pt idx="2221">
                  <c:v>73.569999999999993</c:v>
                </c:pt>
                <c:pt idx="2222">
                  <c:v>72.67</c:v>
                </c:pt>
                <c:pt idx="2223">
                  <c:v>70.42</c:v>
                </c:pt>
                <c:pt idx="2224">
                  <c:v>71.3</c:v>
                </c:pt>
                <c:pt idx="2225">
                  <c:v>72.42</c:v>
                </c:pt>
                <c:pt idx="2226">
                  <c:v>72.06</c:v>
                </c:pt>
                <c:pt idx="2227">
                  <c:v>71.12</c:v>
                </c:pt>
                <c:pt idx="2228">
                  <c:v>71.400000000000006</c:v>
                </c:pt>
                <c:pt idx="2229">
                  <c:v>72.58</c:v>
                </c:pt>
                <c:pt idx="2230">
                  <c:v>69.44</c:v>
                </c:pt>
                <c:pt idx="2231">
                  <c:v>67.010000000000005</c:v>
                </c:pt>
                <c:pt idx="2232">
                  <c:v>67.150000000000006</c:v>
                </c:pt>
                <c:pt idx="2233">
                  <c:v>67.66</c:v>
                </c:pt>
                <c:pt idx="2234">
                  <c:v>70.489999999999995</c:v>
                </c:pt>
                <c:pt idx="2235">
                  <c:v>68.62</c:v>
                </c:pt>
                <c:pt idx="2236">
                  <c:v>65.94</c:v>
                </c:pt>
                <c:pt idx="2237">
                  <c:v>65.41</c:v>
                </c:pt>
                <c:pt idx="2238">
                  <c:v>64.52</c:v>
                </c:pt>
                <c:pt idx="2239">
                  <c:v>64.3</c:v>
                </c:pt>
                <c:pt idx="2240">
                  <c:v>62.41</c:v>
                </c:pt>
                <c:pt idx="2241">
                  <c:v>62.23</c:v>
                </c:pt>
                <c:pt idx="2242">
                  <c:v>61.28</c:v>
                </c:pt>
                <c:pt idx="2243">
                  <c:v>60.75</c:v>
                </c:pt>
                <c:pt idx="2244">
                  <c:v>60.23</c:v>
                </c:pt>
                <c:pt idx="2245">
                  <c:v>61.47</c:v>
                </c:pt>
                <c:pt idx="2246">
                  <c:v>62.52</c:v>
                </c:pt>
                <c:pt idx="2247">
                  <c:v>59.09</c:v>
                </c:pt>
                <c:pt idx="2248">
                  <c:v>59.27</c:v>
                </c:pt>
                <c:pt idx="2249">
                  <c:v>58.81</c:v>
                </c:pt>
                <c:pt idx="2250">
                  <c:v>57.89</c:v>
                </c:pt>
                <c:pt idx="2251">
                  <c:v>58.53</c:v>
                </c:pt>
                <c:pt idx="2252">
                  <c:v>57.6</c:v>
                </c:pt>
                <c:pt idx="2253">
                  <c:v>60.68</c:v>
                </c:pt>
                <c:pt idx="2254">
                  <c:v>59.09</c:v>
                </c:pt>
                <c:pt idx="2255">
                  <c:v>58.8</c:v>
                </c:pt>
                <c:pt idx="2256">
                  <c:v>56.28</c:v>
                </c:pt>
                <c:pt idx="2257">
                  <c:v>55.82</c:v>
                </c:pt>
                <c:pt idx="2258">
                  <c:v>57.93</c:v>
                </c:pt>
                <c:pt idx="2259">
                  <c:v>56.9</c:v>
                </c:pt>
                <c:pt idx="2260">
                  <c:v>59.25</c:v>
                </c:pt>
                <c:pt idx="2261">
                  <c:v>57.8</c:v>
                </c:pt>
                <c:pt idx="2262">
                  <c:v>57.75</c:v>
                </c:pt>
                <c:pt idx="2263">
                  <c:v>57.87</c:v>
                </c:pt>
                <c:pt idx="2264">
                  <c:v>58.97</c:v>
                </c:pt>
                <c:pt idx="2265">
                  <c:v>58.22</c:v>
                </c:pt>
                <c:pt idx="2266">
                  <c:v>60.13</c:v>
                </c:pt>
                <c:pt idx="2267">
                  <c:v>58.51</c:v>
                </c:pt>
                <c:pt idx="2268">
                  <c:v>57.74</c:v>
                </c:pt>
                <c:pt idx="2269">
                  <c:v>57.94</c:v>
                </c:pt>
                <c:pt idx="2270">
                  <c:v>56.56</c:v>
                </c:pt>
                <c:pt idx="2271">
                  <c:v>56.56</c:v>
                </c:pt>
                <c:pt idx="2272">
                  <c:v>58.79</c:v>
                </c:pt>
                <c:pt idx="2273">
                  <c:v>58.76</c:v>
                </c:pt>
                <c:pt idx="2274">
                  <c:v>57.99</c:v>
                </c:pt>
                <c:pt idx="2275">
                  <c:v>57.08</c:v>
                </c:pt>
                <c:pt idx="2276">
                  <c:v>56.13</c:v>
                </c:pt>
                <c:pt idx="2277">
                  <c:v>56.37</c:v>
                </c:pt>
                <c:pt idx="2278">
                  <c:v>56.26</c:v>
                </c:pt>
                <c:pt idx="2279">
                  <c:v>56.55</c:v>
                </c:pt>
                <c:pt idx="2280">
                  <c:v>57.02</c:v>
                </c:pt>
                <c:pt idx="2281">
                  <c:v>56.99</c:v>
                </c:pt>
                <c:pt idx="2282">
                  <c:v>57.18</c:v>
                </c:pt>
                <c:pt idx="2283">
                  <c:v>59.72</c:v>
                </c:pt>
                <c:pt idx="2284">
                  <c:v>59.18</c:v>
                </c:pt>
                <c:pt idx="2285">
                  <c:v>56.88</c:v>
                </c:pt>
                <c:pt idx="2286">
                  <c:v>57.9</c:v>
                </c:pt>
                <c:pt idx="2287">
                  <c:v>57.97</c:v>
                </c:pt>
                <c:pt idx="2288">
                  <c:v>59.5</c:v>
                </c:pt>
                <c:pt idx="2289">
                  <c:v>57.01</c:v>
                </c:pt>
                <c:pt idx="2290">
                  <c:v>57.38</c:v>
                </c:pt>
                <c:pt idx="2291">
                  <c:v>59.53</c:v>
                </c:pt>
                <c:pt idx="2292">
                  <c:v>58.66</c:v>
                </c:pt>
                <c:pt idx="2293">
                  <c:v>59.7</c:v>
                </c:pt>
                <c:pt idx="2294">
                  <c:v>60.72</c:v>
                </c:pt>
                <c:pt idx="2295">
                  <c:v>60.52</c:v>
                </c:pt>
                <c:pt idx="2296">
                  <c:v>61.22</c:v>
                </c:pt>
                <c:pt idx="2297">
                  <c:v>62.13</c:v>
                </c:pt>
                <c:pt idx="2298">
                  <c:v>64.36</c:v>
                </c:pt>
                <c:pt idx="2299">
                  <c:v>64.739999999999995</c:v>
                </c:pt>
                <c:pt idx="2300">
                  <c:v>63.97</c:v>
                </c:pt>
                <c:pt idx="2301">
                  <c:v>63.65</c:v>
                </c:pt>
                <c:pt idx="2302">
                  <c:v>63.7</c:v>
                </c:pt>
                <c:pt idx="2303">
                  <c:v>63.17</c:v>
                </c:pt>
                <c:pt idx="2304">
                  <c:v>63.67</c:v>
                </c:pt>
                <c:pt idx="2305">
                  <c:v>62.59</c:v>
                </c:pt>
                <c:pt idx="2306">
                  <c:v>62.58</c:v>
                </c:pt>
                <c:pt idx="2307">
                  <c:v>61.89</c:v>
                </c:pt>
                <c:pt idx="2308">
                  <c:v>62.85</c:v>
                </c:pt>
                <c:pt idx="2309">
                  <c:v>62.91</c:v>
                </c:pt>
                <c:pt idx="2310">
                  <c:v>62.81</c:v>
                </c:pt>
                <c:pt idx="2311">
                  <c:v>62.19</c:v>
                </c:pt>
                <c:pt idx="2312">
                  <c:v>63.13</c:v>
                </c:pt>
                <c:pt idx="2313">
                  <c:v>62.13</c:v>
                </c:pt>
                <c:pt idx="2314">
                  <c:v>61.92</c:v>
                </c:pt>
                <c:pt idx="2316">
                  <c:v>60.7</c:v>
                </c:pt>
                <c:pt idx="2317">
                  <c:v>59.41</c:v>
                </c:pt>
                <c:pt idx="2318">
                  <c:v>58.96</c:v>
                </c:pt>
                <c:pt idx="2319">
                  <c:v>58.49</c:v>
                </c:pt>
                <c:pt idx="2320">
                  <c:v>56.63</c:v>
                </c:pt>
                <c:pt idx="2321">
                  <c:v>54.58</c:v>
                </c:pt>
                <c:pt idx="2322">
                  <c:v>52.82</c:v>
                </c:pt>
                <c:pt idx="2323">
                  <c:v>52.82</c:v>
                </c:pt>
                <c:pt idx="2324">
                  <c:v>52.38</c:v>
                </c:pt>
                <c:pt idx="2325">
                  <c:v>52.11</c:v>
                </c:pt>
                <c:pt idx="2326">
                  <c:v>51.68</c:v>
                </c:pt>
                <c:pt idx="2327">
                  <c:v>49.95</c:v>
                </c:pt>
                <c:pt idx="2328">
                  <c:v>51.28</c:v>
                </c:pt>
                <c:pt idx="2329">
                  <c:v>51.19</c:v>
                </c:pt>
                <c:pt idx="2330">
                  <c:v>50.83</c:v>
                </c:pt>
                <c:pt idx="2331">
                  <c:v>52.29</c:v>
                </c:pt>
                <c:pt idx="2332">
                  <c:v>54.34</c:v>
                </c:pt>
                <c:pt idx="2333">
                  <c:v>53.93</c:v>
                </c:pt>
                <c:pt idx="2334">
                  <c:v>55.11</c:v>
                </c:pt>
                <c:pt idx="2335">
                  <c:v>55.67</c:v>
                </c:pt>
                <c:pt idx="2336">
                  <c:v>55.29</c:v>
                </c:pt>
                <c:pt idx="2337">
                  <c:v>54.71</c:v>
                </c:pt>
                <c:pt idx="2338">
                  <c:v>54.69</c:v>
                </c:pt>
                <c:pt idx="2339">
                  <c:v>56.52</c:v>
                </c:pt>
                <c:pt idx="2340">
                  <c:v>56.74</c:v>
                </c:pt>
                <c:pt idx="2341">
                  <c:v>56.93</c:v>
                </c:pt>
                <c:pt idx="2342">
                  <c:v>58.67</c:v>
                </c:pt>
                <c:pt idx="2343">
                  <c:v>58.04</c:v>
                </c:pt>
                <c:pt idx="2344">
                  <c:v>58.35</c:v>
                </c:pt>
                <c:pt idx="2345">
                  <c:v>57.24</c:v>
                </c:pt>
                <c:pt idx="2346">
                  <c:v>57.21</c:v>
                </c:pt>
                <c:pt idx="2347">
                  <c:v>55.52</c:v>
                </c:pt>
                <c:pt idx="2348">
                  <c:v>56.12</c:v>
                </c:pt>
                <c:pt idx="2349">
                  <c:v>55.05</c:v>
                </c:pt>
                <c:pt idx="2350">
                  <c:v>54.25</c:v>
                </c:pt>
                <c:pt idx="2351">
                  <c:v>56.78</c:v>
                </c:pt>
                <c:pt idx="2352">
                  <c:v>55.91</c:v>
                </c:pt>
                <c:pt idx="2353">
                  <c:v>57.74</c:v>
                </c:pt>
                <c:pt idx="2354">
                  <c:v>58.62</c:v>
                </c:pt>
                <c:pt idx="2355">
                  <c:v>60.38</c:v>
                </c:pt>
                <c:pt idx="2356">
                  <c:v>60.34</c:v>
                </c:pt>
                <c:pt idx="2357">
                  <c:v>60.28</c:v>
                </c:pt>
                <c:pt idx="2358">
                  <c:v>59.39</c:v>
                </c:pt>
                <c:pt idx="2359">
                  <c:v>61.18</c:v>
                </c:pt>
                <c:pt idx="2360">
                  <c:v>61.92</c:v>
                </c:pt>
                <c:pt idx="2361">
                  <c:v>59.78</c:v>
                </c:pt>
                <c:pt idx="2362">
                  <c:v>59.68</c:v>
                </c:pt>
                <c:pt idx="2363">
                  <c:v>61.13</c:v>
                </c:pt>
                <c:pt idx="2364">
                  <c:v>60.9</c:v>
                </c:pt>
                <c:pt idx="2365">
                  <c:v>60.25</c:v>
                </c:pt>
                <c:pt idx="2366">
                  <c:v>60.59</c:v>
                </c:pt>
                <c:pt idx="2367">
                  <c:v>61.52</c:v>
                </c:pt>
                <c:pt idx="2368">
                  <c:v>60.89</c:v>
                </c:pt>
                <c:pt idx="2369">
                  <c:v>60.4</c:v>
                </c:pt>
                <c:pt idx="2370">
                  <c:v>60.93</c:v>
                </c:pt>
                <c:pt idx="2371">
                  <c:v>60.49</c:v>
                </c:pt>
                <c:pt idx="2372">
                  <c:v>60.11</c:v>
                </c:pt>
                <c:pt idx="2373">
                  <c:v>60.18</c:v>
                </c:pt>
                <c:pt idx="2374">
                  <c:v>61.57</c:v>
                </c:pt>
                <c:pt idx="2375">
                  <c:v>63.1</c:v>
                </c:pt>
                <c:pt idx="2376">
                  <c:v>64.430000000000007</c:v>
                </c:pt>
                <c:pt idx="2377">
                  <c:v>64.25</c:v>
                </c:pt>
                <c:pt idx="2378">
                  <c:v>66.150000000000006</c:v>
                </c:pt>
                <c:pt idx="2379">
                  <c:v>67.19</c:v>
                </c:pt>
                <c:pt idx="2380">
                  <c:v>68.47</c:v>
                </c:pt>
                <c:pt idx="2381">
                  <c:v>68.94</c:v>
                </c:pt>
                <c:pt idx="2382">
                  <c:v>68</c:v>
                </c:pt>
                <c:pt idx="2383">
                  <c:v>68.09</c:v>
                </c:pt>
                <c:pt idx="2384">
                  <c:v>69.150000000000006</c:v>
                </c:pt>
                <c:pt idx="2386">
                  <c:v>67.64</c:v>
                </c:pt>
                <c:pt idx="2387">
                  <c:v>68.599999999999994</c:v>
                </c:pt>
                <c:pt idx="2388">
                  <c:v>67.790000000000006</c:v>
                </c:pt>
                <c:pt idx="2389">
                  <c:v>68.78</c:v>
                </c:pt>
                <c:pt idx="2390">
                  <c:v>67.099999999999994</c:v>
                </c:pt>
                <c:pt idx="2391">
                  <c:v>66.34</c:v>
                </c:pt>
                <c:pt idx="2392">
                  <c:v>65.09</c:v>
                </c:pt>
                <c:pt idx="2393">
                  <c:v>66.17</c:v>
                </c:pt>
                <c:pt idx="2394">
                  <c:v>66.34</c:v>
                </c:pt>
                <c:pt idx="2395">
                  <c:v>66.8</c:v>
                </c:pt>
                <c:pt idx="2396">
                  <c:v>67.94</c:v>
                </c:pt>
                <c:pt idx="2397">
                  <c:v>67.44</c:v>
                </c:pt>
                <c:pt idx="2398">
                  <c:v>67.510000000000005</c:v>
                </c:pt>
                <c:pt idx="2399">
                  <c:v>67.28</c:v>
                </c:pt>
                <c:pt idx="2400">
                  <c:v>67.23</c:v>
                </c:pt>
                <c:pt idx="2401">
                  <c:v>67.400000000000006</c:v>
                </c:pt>
                <c:pt idx="2402">
                  <c:v>65.569999999999993</c:v>
                </c:pt>
                <c:pt idx="2403">
                  <c:v>64.849999999999994</c:v>
                </c:pt>
                <c:pt idx="2404">
                  <c:v>65.14</c:v>
                </c:pt>
                <c:pt idx="2405">
                  <c:v>62.7</c:v>
                </c:pt>
                <c:pt idx="2406">
                  <c:v>63.55</c:v>
                </c:pt>
                <c:pt idx="2407">
                  <c:v>63.5</c:v>
                </c:pt>
                <c:pt idx="2408">
                  <c:v>64.63</c:v>
                </c:pt>
                <c:pt idx="2409">
                  <c:v>65.180000000000007</c:v>
                </c:pt>
                <c:pt idx="2410">
                  <c:v>65.86</c:v>
                </c:pt>
                <c:pt idx="2411">
                  <c:v>66.739999999999995</c:v>
                </c:pt>
                <c:pt idx="2412">
                  <c:v>66.83</c:v>
                </c:pt>
                <c:pt idx="2413">
                  <c:v>69.08</c:v>
                </c:pt>
                <c:pt idx="2414">
                  <c:v>69.260000000000005</c:v>
                </c:pt>
                <c:pt idx="2415">
                  <c:v>69.510000000000005</c:v>
                </c:pt>
                <c:pt idx="2416">
                  <c:v>70.05</c:v>
                </c:pt>
                <c:pt idx="2417">
                  <c:v>71.010000000000005</c:v>
                </c:pt>
                <c:pt idx="2418">
                  <c:v>71.959999999999994</c:v>
                </c:pt>
                <c:pt idx="2419">
                  <c:v>70.72</c:v>
                </c:pt>
                <c:pt idx="2420">
                  <c:v>69.31</c:v>
                </c:pt>
                <c:pt idx="2421">
                  <c:v>67.64</c:v>
                </c:pt>
                <c:pt idx="2422">
                  <c:v>68.180000000000007</c:v>
                </c:pt>
                <c:pt idx="2423">
                  <c:v>68.650000000000006</c:v>
                </c:pt>
                <c:pt idx="2424">
                  <c:v>70.900000000000006</c:v>
                </c:pt>
                <c:pt idx="2425">
                  <c:v>71.36</c:v>
                </c:pt>
                <c:pt idx="2426">
                  <c:v>71.5</c:v>
                </c:pt>
                <c:pt idx="2427">
                  <c:v>72.36</c:v>
                </c:pt>
                <c:pt idx="2428">
                  <c:v>70.040000000000006</c:v>
                </c:pt>
                <c:pt idx="2429">
                  <c:v>68.849999999999994</c:v>
                </c:pt>
                <c:pt idx="2430">
                  <c:v>68.56</c:v>
                </c:pt>
                <c:pt idx="2431">
                  <c:v>69.239999999999995</c:v>
                </c:pt>
                <c:pt idx="2432">
                  <c:v>71.180000000000007</c:v>
                </c:pt>
                <c:pt idx="2433">
                  <c:v>71.63</c:v>
                </c:pt>
                <c:pt idx="2434">
                  <c:v>72.33</c:v>
                </c:pt>
                <c:pt idx="2435">
                  <c:v>72.17</c:v>
                </c:pt>
                <c:pt idx="2436">
                  <c:v>70.55</c:v>
                </c:pt>
                <c:pt idx="2437">
                  <c:v>71.81</c:v>
                </c:pt>
                <c:pt idx="2438">
                  <c:v>72.040000000000006</c:v>
                </c:pt>
                <c:pt idx="2439">
                  <c:v>71.36</c:v>
                </c:pt>
                <c:pt idx="2440">
                  <c:v>71.41</c:v>
                </c:pt>
                <c:pt idx="2441">
                  <c:v>71.84</c:v>
                </c:pt>
                <c:pt idx="2442">
                  <c:v>71.959999999999994</c:v>
                </c:pt>
                <c:pt idx="2443">
                  <c:v>72.22</c:v>
                </c:pt>
                <c:pt idx="2444">
                  <c:v>72.900000000000006</c:v>
                </c:pt>
                <c:pt idx="2445">
                  <c:v>74.260000000000005</c:v>
                </c:pt>
                <c:pt idx="2446">
                  <c:v>75.400000000000006</c:v>
                </c:pt>
                <c:pt idx="2447">
                  <c:v>76.58</c:v>
                </c:pt>
                <c:pt idx="2448">
                  <c:v>77.099999999999994</c:v>
                </c:pt>
                <c:pt idx="2449">
                  <c:v>77.88</c:v>
                </c:pt>
                <c:pt idx="2450">
                  <c:v>77.44</c:v>
                </c:pt>
                <c:pt idx="2451">
                  <c:v>78.239999999999995</c:v>
                </c:pt>
                <c:pt idx="2452">
                  <c:v>78.12</c:v>
                </c:pt>
                <c:pt idx="2453">
                  <c:v>78.17</c:v>
                </c:pt>
                <c:pt idx="2454">
                  <c:v>77.59</c:v>
                </c:pt>
                <c:pt idx="2455">
                  <c:v>78</c:v>
                </c:pt>
                <c:pt idx="2456">
                  <c:v>78.37</c:v>
                </c:pt>
                <c:pt idx="2457">
                  <c:v>79.09</c:v>
                </c:pt>
                <c:pt idx="2458">
                  <c:v>78.36</c:v>
                </c:pt>
                <c:pt idx="2459">
                  <c:v>75.88</c:v>
                </c:pt>
                <c:pt idx="2460">
                  <c:v>75.209999999999994</c:v>
                </c:pt>
                <c:pt idx="2461">
                  <c:v>77.28</c:v>
                </c:pt>
                <c:pt idx="2462">
                  <c:v>76.58</c:v>
                </c:pt>
                <c:pt idx="2463">
                  <c:v>76.069999999999993</c:v>
                </c:pt>
                <c:pt idx="2464">
                  <c:v>77.010000000000005</c:v>
                </c:pt>
                <c:pt idx="2465">
                  <c:v>77.11</c:v>
                </c:pt>
                <c:pt idx="2466">
                  <c:v>76.14</c:v>
                </c:pt>
                <c:pt idx="2467">
                  <c:v>75.36</c:v>
                </c:pt>
                <c:pt idx="2468">
                  <c:v>72.69</c:v>
                </c:pt>
                <c:pt idx="2469">
                  <c:v>70.42</c:v>
                </c:pt>
                <c:pt idx="2470">
                  <c:v>70.73</c:v>
                </c:pt>
                <c:pt idx="2471">
                  <c:v>70.08</c:v>
                </c:pt>
                <c:pt idx="2472">
                  <c:v>69.569999999999993</c:v>
                </c:pt>
                <c:pt idx="2473">
                  <c:v>71.3</c:v>
                </c:pt>
                <c:pt idx="2474">
                  <c:v>69.290000000000006</c:v>
                </c:pt>
                <c:pt idx="2475">
                  <c:v>71.3</c:v>
                </c:pt>
                <c:pt idx="2476">
                  <c:v>68.77</c:v>
                </c:pt>
                <c:pt idx="2477">
                  <c:v>69.8</c:v>
                </c:pt>
                <c:pt idx="2478">
                  <c:v>68.37</c:v>
                </c:pt>
                <c:pt idx="2479">
                  <c:v>67.88</c:v>
                </c:pt>
                <c:pt idx="2480">
                  <c:v>67.73</c:v>
                </c:pt>
                <c:pt idx="2481">
                  <c:v>68.73</c:v>
                </c:pt>
                <c:pt idx="2482">
                  <c:v>69.489999999999995</c:v>
                </c:pt>
                <c:pt idx="2483">
                  <c:v>68.849999999999994</c:v>
                </c:pt>
                <c:pt idx="2484">
                  <c:v>69.66</c:v>
                </c:pt>
                <c:pt idx="2485">
                  <c:v>70.48</c:v>
                </c:pt>
                <c:pt idx="2486">
                  <c:v>71.459999999999994</c:v>
                </c:pt>
                <c:pt idx="2487">
                  <c:v>72.290000000000006</c:v>
                </c:pt>
                <c:pt idx="2488">
                  <c:v>74.22</c:v>
                </c:pt>
                <c:pt idx="2489">
                  <c:v>74.72</c:v>
                </c:pt>
                <c:pt idx="2490">
                  <c:v>76.209999999999994</c:v>
                </c:pt>
                <c:pt idx="2491">
                  <c:v>75.08</c:v>
                </c:pt>
                <c:pt idx="2492">
                  <c:v>74.97</c:v>
                </c:pt>
                <c:pt idx="2493">
                  <c:v>76.23</c:v>
                </c:pt>
                <c:pt idx="2494">
                  <c:v>77.150000000000006</c:v>
                </c:pt>
                <c:pt idx="2495">
                  <c:v>77.84</c:v>
                </c:pt>
                <c:pt idx="2496">
                  <c:v>78.27</c:v>
                </c:pt>
                <c:pt idx="2497">
                  <c:v>77.989999999999995</c:v>
                </c:pt>
                <c:pt idx="2498">
                  <c:v>77</c:v>
                </c:pt>
                <c:pt idx="2499">
                  <c:v>78.47</c:v>
                </c:pt>
                <c:pt idx="2500">
                  <c:v>78.48</c:v>
                </c:pt>
                <c:pt idx="2501">
                  <c:v>78.91</c:v>
                </c:pt>
                <c:pt idx="2502">
                  <c:v>77.87</c:v>
                </c:pt>
                <c:pt idx="2503">
                  <c:v>76.819999999999993</c:v>
                </c:pt>
                <c:pt idx="2504">
                  <c:v>76.209999999999994</c:v>
                </c:pt>
                <c:pt idx="2505">
                  <c:v>78.88</c:v>
                </c:pt>
                <c:pt idx="2506">
                  <c:v>80.97</c:v>
                </c:pt>
                <c:pt idx="2507">
                  <c:v>78.33</c:v>
                </c:pt>
                <c:pt idx="2508">
                  <c:v>76.87</c:v>
                </c:pt>
                <c:pt idx="2509">
                  <c:v>77.8</c:v>
                </c:pt>
                <c:pt idx="2510">
                  <c:v>77.84</c:v>
                </c:pt>
                <c:pt idx="2511">
                  <c:v>79.05</c:v>
                </c:pt>
                <c:pt idx="2512">
                  <c:v>76.94</c:v>
                </c:pt>
                <c:pt idx="2513">
                  <c:v>77.819999999999993</c:v>
                </c:pt>
                <c:pt idx="2514">
                  <c:v>77.849999999999994</c:v>
                </c:pt>
                <c:pt idx="2515">
                  <c:v>80.83</c:v>
                </c:pt>
                <c:pt idx="2516">
                  <c:v>80.819999999999993</c:v>
                </c:pt>
                <c:pt idx="2517">
                  <c:v>82.5</c:v>
                </c:pt>
                <c:pt idx="2518">
                  <c:v>84.43</c:v>
                </c:pt>
                <c:pt idx="2519">
                  <c:v>85.24</c:v>
                </c:pt>
                <c:pt idx="2520">
                  <c:v>85.03</c:v>
                </c:pt>
                <c:pt idx="2521">
                  <c:v>84.25</c:v>
                </c:pt>
                <c:pt idx="2522">
                  <c:v>82.72</c:v>
                </c:pt>
                <c:pt idx="2523">
                  <c:v>82.31</c:v>
                </c:pt>
                <c:pt idx="2524">
                  <c:v>83.47</c:v>
                </c:pt>
                <c:pt idx="2525">
                  <c:v>85.4</c:v>
                </c:pt>
                <c:pt idx="2526">
                  <c:v>84.71</c:v>
                </c:pt>
                <c:pt idx="2527">
                  <c:v>89.87</c:v>
                </c:pt>
                <c:pt idx="2528">
                  <c:v>89.87</c:v>
                </c:pt>
                <c:pt idx="2529">
                  <c:v>89.87</c:v>
                </c:pt>
                <c:pt idx="2530">
                  <c:v>90.36</c:v>
                </c:pt>
                <c:pt idx="2531">
                  <c:v>92.11</c:v>
                </c:pt>
                <c:pt idx="2532">
                  <c:v>92.16</c:v>
                </c:pt>
                <c:pt idx="2533">
                  <c:v>93.99</c:v>
                </c:pt>
                <c:pt idx="2534">
                  <c:v>94.85</c:v>
                </c:pt>
                <c:pt idx="2535">
                  <c:v>94.4</c:v>
                </c:pt>
                <c:pt idx="2536">
                  <c:v>92.32</c:v>
                </c:pt>
                <c:pt idx="2537">
                  <c:v>91.56</c:v>
                </c:pt>
                <c:pt idx="2538">
                  <c:v>89.09</c:v>
                </c:pt>
                <c:pt idx="2539">
                  <c:v>90.73</c:v>
                </c:pt>
                <c:pt idx="2540">
                  <c:v>90.32</c:v>
                </c:pt>
                <c:pt idx="2541">
                  <c:v>91.99</c:v>
                </c:pt>
                <c:pt idx="2542">
                  <c:v>91.59</c:v>
                </c:pt>
                <c:pt idx="2543">
                  <c:v>94.13</c:v>
                </c:pt>
                <c:pt idx="2544">
                  <c:v>94.97</c:v>
                </c:pt>
                <c:pt idx="2545">
                  <c:v>95.33</c:v>
                </c:pt>
                <c:pt idx="2546">
                  <c:v>94.88</c:v>
                </c:pt>
                <c:pt idx="2547">
                  <c:v>93.23</c:v>
                </c:pt>
                <c:pt idx="2548">
                  <c:v>91.64</c:v>
                </c:pt>
                <c:pt idx="2549">
                  <c:v>92.34</c:v>
                </c:pt>
                <c:pt idx="2550">
                  <c:v>88.71</c:v>
                </c:pt>
                <c:pt idx="2551">
                  <c:v>87.85</c:v>
                </c:pt>
                <c:pt idx="2552">
                  <c:v>89.97</c:v>
                </c:pt>
                <c:pt idx="2553">
                  <c:v>90.7</c:v>
                </c:pt>
                <c:pt idx="2554">
                  <c:v>88.46</c:v>
                </c:pt>
                <c:pt idx="2555">
                  <c:v>88.46</c:v>
                </c:pt>
                <c:pt idx="2556">
                  <c:v>87.33</c:v>
                </c:pt>
                <c:pt idx="2557">
                  <c:v>87.77</c:v>
                </c:pt>
                <c:pt idx="2558">
                  <c:v>91.69</c:v>
                </c:pt>
                <c:pt idx="2559">
                  <c:v>92.57</c:v>
                </c:pt>
                <c:pt idx="2560">
                  <c:v>91.86</c:v>
                </c:pt>
                <c:pt idx="2561">
                  <c:v>90.32</c:v>
                </c:pt>
                <c:pt idx="2562">
                  <c:v>90.71</c:v>
                </c:pt>
                <c:pt idx="2563">
                  <c:v>90.98</c:v>
                </c:pt>
                <c:pt idx="2564">
                  <c:v>91.06</c:v>
                </c:pt>
                <c:pt idx="2565">
                  <c:v>91.03</c:v>
                </c:pt>
                <c:pt idx="2566">
                  <c:v>91.59</c:v>
                </c:pt>
                <c:pt idx="2568">
                  <c:v>95.66</c:v>
                </c:pt>
                <c:pt idx="2569">
                  <c:v>95.92</c:v>
                </c:pt>
                <c:pt idx="2570">
                  <c:v>93.68</c:v>
                </c:pt>
                <c:pt idx="2571">
                  <c:v>97.01</c:v>
                </c:pt>
                <c:pt idx="2572">
                  <c:v>98.45</c:v>
                </c:pt>
                <c:pt idx="2573">
                  <c:v>96.87</c:v>
                </c:pt>
                <c:pt idx="2574">
                  <c:v>94.19</c:v>
                </c:pt>
                <c:pt idx="2575">
                  <c:v>96.37</c:v>
                </c:pt>
                <c:pt idx="2576">
                  <c:v>96.76</c:v>
                </c:pt>
                <c:pt idx="2577">
                  <c:v>92.8</c:v>
                </c:pt>
                <c:pt idx="2578">
                  <c:v>91.86</c:v>
                </c:pt>
                <c:pt idx="2579">
                  <c:v>92.58</c:v>
                </c:pt>
                <c:pt idx="2580">
                  <c:v>90.87</c:v>
                </c:pt>
                <c:pt idx="2581">
                  <c:v>88.1</c:v>
                </c:pt>
                <c:pt idx="2582">
                  <c:v>88.96</c:v>
                </c:pt>
                <c:pt idx="2583">
                  <c:v>89.66</c:v>
                </c:pt>
                <c:pt idx="2584">
                  <c:v>88.11</c:v>
                </c:pt>
                <c:pt idx="2585">
                  <c:v>87.06</c:v>
                </c:pt>
                <c:pt idx="2586">
                  <c:v>87.69</c:v>
                </c:pt>
                <c:pt idx="2587">
                  <c:v>90.96</c:v>
                </c:pt>
                <c:pt idx="2588">
                  <c:v>90.91</c:v>
                </c:pt>
                <c:pt idx="2589">
                  <c:v>92.49</c:v>
                </c:pt>
                <c:pt idx="2590">
                  <c:v>92.46</c:v>
                </c:pt>
                <c:pt idx="2591">
                  <c:v>91.58</c:v>
                </c:pt>
                <c:pt idx="2592">
                  <c:v>91.41</c:v>
                </c:pt>
                <c:pt idx="2593">
                  <c:v>91.09</c:v>
                </c:pt>
                <c:pt idx="2594">
                  <c:v>89.6</c:v>
                </c:pt>
                <c:pt idx="2595">
                  <c:v>88.73</c:v>
                </c:pt>
                <c:pt idx="2596">
                  <c:v>88.55</c:v>
                </c:pt>
                <c:pt idx="2597">
                  <c:v>91.45</c:v>
                </c:pt>
                <c:pt idx="2598">
                  <c:v>93.93</c:v>
                </c:pt>
                <c:pt idx="2599">
                  <c:v>94.28</c:v>
                </c:pt>
                <c:pt idx="2600">
                  <c:v>93.82</c:v>
                </c:pt>
                <c:pt idx="2601">
                  <c:v>95.92</c:v>
                </c:pt>
                <c:pt idx="2602">
                  <c:v>96.96</c:v>
                </c:pt>
                <c:pt idx="2603">
                  <c:v>97.03</c:v>
                </c:pt>
                <c:pt idx="2604">
                  <c:v>97.88</c:v>
                </c:pt>
                <c:pt idx="2605">
                  <c:v>97.52</c:v>
                </c:pt>
                <c:pt idx="2606">
                  <c:v>96.07</c:v>
                </c:pt>
                <c:pt idx="2607">
                  <c:v>97.43</c:v>
                </c:pt>
                <c:pt idx="2608">
                  <c:v>99.05</c:v>
                </c:pt>
                <c:pt idx="2609">
                  <c:v>98.28</c:v>
                </c:pt>
                <c:pt idx="2610">
                  <c:v>99.83</c:v>
                </c:pt>
                <c:pt idx="2611">
                  <c:v>100.9</c:v>
                </c:pt>
                <c:pt idx="2612">
                  <c:v>101.83</c:v>
                </c:pt>
                <c:pt idx="2613">
                  <c:v>98.6</c:v>
                </c:pt>
                <c:pt idx="2614">
                  <c:v>100.95</c:v>
                </c:pt>
                <c:pt idx="2615">
                  <c:v>103.47</c:v>
                </c:pt>
                <c:pt idx="2616">
                  <c:v>104.66</c:v>
                </c:pt>
                <c:pt idx="2617">
                  <c:v>105.33</c:v>
                </c:pt>
                <c:pt idx="2618">
                  <c:v>106.78</c:v>
                </c:pt>
                <c:pt idx="2619">
                  <c:v>107.99</c:v>
                </c:pt>
                <c:pt idx="2620">
                  <c:v>109.18</c:v>
                </c:pt>
                <c:pt idx="2621">
                  <c:v>109.16</c:v>
                </c:pt>
                <c:pt idx="2622">
                  <c:v>104.41</c:v>
                </c:pt>
                <c:pt idx="2623">
                  <c:v>105.35</c:v>
                </c:pt>
                <c:pt idx="2624">
                  <c:v>102.65</c:v>
                </c:pt>
                <c:pt idx="2625">
                  <c:v>99.78</c:v>
                </c:pt>
                <c:pt idx="2626">
                  <c:v>100.93</c:v>
                </c:pt>
                <c:pt idx="2627">
                  <c:v>99.91</c:v>
                </c:pt>
                <c:pt idx="2628">
                  <c:v>102.83</c:v>
                </c:pt>
                <c:pt idx="2629">
                  <c:v>103.89</c:v>
                </c:pt>
                <c:pt idx="2630">
                  <c:v>102.68</c:v>
                </c:pt>
                <c:pt idx="2631">
                  <c:v>102.33</c:v>
                </c:pt>
                <c:pt idx="2632">
                  <c:v>98.69</c:v>
                </c:pt>
                <c:pt idx="2633">
                  <c:v>98.85</c:v>
                </c:pt>
                <c:pt idx="2634">
                  <c:v>102.31</c:v>
                </c:pt>
                <c:pt idx="2635">
                  <c:v>102.21</c:v>
                </c:pt>
                <c:pt idx="2636">
                  <c:v>105.98</c:v>
                </c:pt>
                <c:pt idx="2637">
                  <c:v>105.05</c:v>
                </c:pt>
                <c:pt idx="2638">
                  <c:v>107.46</c:v>
                </c:pt>
                <c:pt idx="2639">
                  <c:v>107.37</c:v>
                </c:pt>
                <c:pt idx="2640">
                  <c:v>107.15</c:v>
                </c:pt>
                <c:pt idx="2641">
                  <c:v>108.32</c:v>
                </c:pt>
                <c:pt idx="2642">
                  <c:v>110.84</c:v>
                </c:pt>
                <c:pt idx="2643">
                  <c:v>110.95</c:v>
                </c:pt>
                <c:pt idx="2644">
                  <c:v>111.34</c:v>
                </c:pt>
                <c:pt idx="2645">
                  <c:v>110.67</c:v>
                </c:pt>
                <c:pt idx="2646">
                  <c:v>111.35</c:v>
                </c:pt>
                <c:pt idx="2647">
                  <c:v>113.54</c:v>
                </c:pt>
                <c:pt idx="2648">
                  <c:v>115.34</c:v>
                </c:pt>
                <c:pt idx="2649">
                  <c:v>114.85</c:v>
                </c:pt>
                <c:pt idx="2650">
                  <c:v>116.62</c:v>
                </c:pt>
                <c:pt idx="2651">
                  <c:v>115.7</c:v>
                </c:pt>
                <c:pt idx="2652">
                  <c:v>113.86</c:v>
                </c:pt>
                <c:pt idx="2653">
                  <c:v>111.12</c:v>
                </c:pt>
                <c:pt idx="2654">
                  <c:v>107.3</c:v>
                </c:pt>
                <c:pt idx="2655">
                  <c:v>111.92</c:v>
                </c:pt>
                <c:pt idx="2656">
                  <c:v>115.68</c:v>
                </c:pt>
                <c:pt idx="2657">
                  <c:v>119.88</c:v>
                </c:pt>
                <c:pt idx="2658">
                  <c:v>120.27</c:v>
                </c:pt>
                <c:pt idx="2659">
                  <c:v>119.85</c:v>
                </c:pt>
                <c:pt idx="2660">
                  <c:v>123.54</c:v>
                </c:pt>
                <c:pt idx="2661">
                  <c:v>122.89</c:v>
                </c:pt>
                <c:pt idx="2662">
                  <c:v>123.11</c:v>
                </c:pt>
                <c:pt idx="2663">
                  <c:v>121.18</c:v>
                </c:pt>
                <c:pt idx="2664">
                  <c:v>122.76</c:v>
                </c:pt>
                <c:pt idx="2665">
                  <c:v>122.98</c:v>
                </c:pt>
                <c:pt idx="2666">
                  <c:v>122.19</c:v>
                </c:pt>
                <c:pt idx="2667">
                  <c:v>124.12</c:v>
                </c:pt>
                <c:pt idx="2668">
                  <c:v>127.28</c:v>
                </c:pt>
                <c:pt idx="2669">
                  <c:v>129.04</c:v>
                </c:pt>
                <c:pt idx="2670">
                  <c:v>129.72</c:v>
                </c:pt>
                <c:pt idx="2671">
                  <c:v>128.91999999999999</c:v>
                </c:pt>
                <c:pt idx="2672">
                  <c:v>128.93</c:v>
                </c:pt>
                <c:pt idx="2673">
                  <c:v>129.33000000000001</c:v>
                </c:pt>
                <c:pt idx="2674">
                  <c:v>127.85</c:v>
                </c:pt>
                <c:pt idx="2675">
                  <c:v>128.5</c:v>
                </c:pt>
                <c:pt idx="2676">
                  <c:v>126.28</c:v>
                </c:pt>
                <c:pt idx="2677">
                  <c:v>121.72</c:v>
                </c:pt>
                <c:pt idx="2678">
                  <c:v>122.36</c:v>
                </c:pt>
                <c:pt idx="2679">
                  <c:v>132.81</c:v>
                </c:pt>
                <c:pt idx="2680">
                  <c:v>134.43</c:v>
                </c:pt>
                <c:pt idx="2681">
                  <c:v>135.24</c:v>
                </c:pt>
                <c:pt idx="2682">
                  <c:v>134.52000000000001</c:v>
                </c:pt>
                <c:pt idx="2683">
                  <c:v>132.11000000000001</c:v>
                </c:pt>
                <c:pt idx="2684">
                  <c:v>134.29</c:v>
                </c:pt>
                <c:pt idx="2685">
                  <c:v>133.9</c:v>
                </c:pt>
                <c:pt idx="2686">
                  <c:v>131.27000000000001</c:v>
                </c:pt>
                <c:pt idx="2687">
                  <c:v>129.12</c:v>
                </c:pt>
                <c:pt idx="2688">
                  <c:v>131.84</c:v>
                </c:pt>
                <c:pt idx="2689">
                  <c:v>134.28</c:v>
                </c:pt>
                <c:pt idx="2690">
                  <c:v>134.54</c:v>
                </c:pt>
                <c:pt idx="2691">
                  <c:v>135.37</c:v>
                </c:pt>
                <c:pt idx="2692">
                  <c:v>131.59</c:v>
                </c:pt>
                <c:pt idx="2693">
                  <c:v>136.82</c:v>
                </c:pt>
                <c:pt idx="2694">
                  <c:v>139.38</c:v>
                </c:pt>
                <c:pt idx="2695">
                  <c:v>138.4</c:v>
                </c:pt>
                <c:pt idx="2696">
                  <c:v>140.66999999999999</c:v>
                </c:pt>
                <c:pt idx="2697">
                  <c:v>141.24</c:v>
                </c:pt>
                <c:pt idx="2698">
                  <c:v>143.94999999999999</c:v>
                </c:pt>
                <c:pt idx="2699">
                  <c:v>139.62</c:v>
                </c:pt>
                <c:pt idx="2700">
                  <c:v>134.15</c:v>
                </c:pt>
                <c:pt idx="2701">
                  <c:v>133.91</c:v>
                </c:pt>
                <c:pt idx="2702">
                  <c:v>135.81</c:v>
                </c:pt>
                <c:pt idx="2703">
                  <c:v>143.68</c:v>
                </c:pt>
                <c:pt idx="2704">
                  <c:v>142.43</c:v>
                </c:pt>
                <c:pt idx="2705">
                  <c:v>136.02000000000001</c:v>
                </c:pt>
                <c:pt idx="2706">
                  <c:v>133.31</c:v>
                </c:pt>
                <c:pt idx="2707">
                  <c:v>134.16</c:v>
                </c:pt>
                <c:pt idx="2708">
                  <c:v>129.34</c:v>
                </c:pt>
                <c:pt idx="2709">
                  <c:v>129.34</c:v>
                </c:pt>
                <c:pt idx="2710">
                  <c:v>127.18</c:v>
                </c:pt>
                <c:pt idx="2711">
                  <c:v>126.86</c:v>
                </c:pt>
                <c:pt idx="2712">
                  <c:v>125.43</c:v>
                </c:pt>
                <c:pt idx="2713">
                  <c:v>124.7</c:v>
                </c:pt>
                <c:pt idx="2714">
                  <c:v>125.67</c:v>
                </c:pt>
                <c:pt idx="2715">
                  <c:v>125.77</c:v>
                </c:pt>
                <c:pt idx="2716">
                  <c:v>122.46</c:v>
                </c:pt>
                <c:pt idx="2717">
                  <c:v>124.1</c:v>
                </c:pt>
                <c:pt idx="2718">
                  <c:v>124.16</c:v>
                </c:pt>
                <c:pt idx="2719">
                  <c:v>121.87</c:v>
                </c:pt>
                <c:pt idx="2720">
                  <c:v>116.5</c:v>
                </c:pt>
                <c:pt idx="2721">
                  <c:v>114.47</c:v>
                </c:pt>
                <c:pt idx="2722">
                  <c:v>116.94</c:v>
                </c:pt>
                <c:pt idx="2723">
                  <c:v>113.03</c:v>
                </c:pt>
                <c:pt idx="2724">
                  <c:v>110.54</c:v>
                </c:pt>
                <c:pt idx="2725">
                  <c:v>108.98</c:v>
                </c:pt>
                <c:pt idx="2726">
                  <c:v>110.68</c:v>
                </c:pt>
                <c:pt idx="2727">
                  <c:v>111.82</c:v>
                </c:pt>
                <c:pt idx="2728">
                  <c:v>108.8</c:v>
                </c:pt>
                <c:pt idx="2729">
                  <c:v>109.33</c:v>
                </c:pt>
                <c:pt idx="2730">
                  <c:v>109.02</c:v>
                </c:pt>
                <c:pt idx="2731">
                  <c:v>108.72</c:v>
                </c:pt>
                <c:pt idx="2732">
                  <c:v>117.24</c:v>
                </c:pt>
                <c:pt idx="2733">
                  <c:v>113.99</c:v>
                </c:pt>
                <c:pt idx="2734">
                  <c:v>109.74</c:v>
                </c:pt>
                <c:pt idx="2735">
                  <c:v>112.2</c:v>
                </c:pt>
                <c:pt idx="2736">
                  <c:v>113.05</c:v>
                </c:pt>
                <c:pt idx="2737">
                  <c:v>113.54</c:v>
                </c:pt>
                <c:pt idx="2738">
                  <c:v>113.49</c:v>
                </c:pt>
                <c:pt idx="2739">
                  <c:v>104.94</c:v>
                </c:pt>
                <c:pt idx="2740">
                  <c:v>103.88</c:v>
                </c:pt>
                <c:pt idx="2741">
                  <c:v>103.41</c:v>
                </c:pt>
                <c:pt idx="2742">
                  <c:v>102.51</c:v>
                </c:pt>
                <c:pt idx="2743">
                  <c:v>101.08</c:v>
                </c:pt>
                <c:pt idx="2744">
                  <c:v>98.94</c:v>
                </c:pt>
                <c:pt idx="2745">
                  <c:v>96</c:v>
                </c:pt>
                <c:pt idx="2746">
                  <c:v>96.01</c:v>
                </c:pt>
                <c:pt idx="2747">
                  <c:v>94.37</c:v>
                </c:pt>
                <c:pt idx="2748">
                  <c:v>90.45</c:v>
                </c:pt>
                <c:pt idx="2749">
                  <c:v>85.85</c:v>
                </c:pt>
                <c:pt idx="2750">
                  <c:v>86.09</c:v>
                </c:pt>
                <c:pt idx="2751">
                  <c:v>90.89</c:v>
                </c:pt>
                <c:pt idx="2752">
                  <c:v>93.46</c:v>
                </c:pt>
                <c:pt idx="2753">
                  <c:v>100.43</c:v>
                </c:pt>
                <c:pt idx="2754">
                  <c:v>100.72</c:v>
                </c:pt>
                <c:pt idx="2755">
                  <c:v>102.09</c:v>
                </c:pt>
                <c:pt idx="2756">
                  <c:v>100.45</c:v>
                </c:pt>
                <c:pt idx="2757">
                  <c:v>100.88</c:v>
                </c:pt>
                <c:pt idx="2758">
                  <c:v>95.96</c:v>
                </c:pt>
                <c:pt idx="2759">
                  <c:v>93.52</c:v>
                </c:pt>
                <c:pt idx="2760">
                  <c:v>92.19</c:v>
                </c:pt>
                <c:pt idx="2761">
                  <c:v>88.88</c:v>
                </c:pt>
                <c:pt idx="2762">
                  <c:v>88.95</c:v>
                </c:pt>
                <c:pt idx="2763">
                  <c:v>84.71</c:v>
                </c:pt>
                <c:pt idx="2764">
                  <c:v>83.17</c:v>
                </c:pt>
                <c:pt idx="2765">
                  <c:v>80.77</c:v>
                </c:pt>
                <c:pt idx="2766">
                  <c:v>81.650000000000006</c:v>
                </c:pt>
                <c:pt idx="2767">
                  <c:v>74.58</c:v>
                </c:pt>
                <c:pt idx="2768">
                  <c:v>74.37</c:v>
                </c:pt>
                <c:pt idx="2769">
                  <c:v>74.98</c:v>
                </c:pt>
                <c:pt idx="2770">
                  <c:v>66.86</c:v>
                </c:pt>
                <c:pt idx="2771">
                  <c:v>64.14</c:v>
                </c:pt>
                <c:pt idx="2772">
                  <c:v>66.05</c:v>
                </c:pt>
                <c:pt idx="2773">
                  <c:v>67.45</c:v>
                </c:pt>
                <c:pt idx="2774">
                  <c:v>65.989999999999995</c:v>
                </c:pt>
                <c:pt idx="2775">
                  <c:v>62.95</c:v>
                </c:pt>
                <c:pt idx="2776">
                  <c:v>65.06</c:v>
                </c:pt>
                <c:pt idx="2777">
                  <c:v>60.57</c:v>
                </c:pt>
                <c:pt idx="2778">
                  <c:v>59.34</c:v>
                </c:pt>
                <c:pt idx="2779">
                  <c:v>58.87</c:v>
                </c:pt>
                <c:pt idx="2780">
                  <c:v>64</c:v>
                </c:pt>
                <c:pt idx="2781">
                  <c:v>60.86</c:v>
                </c:pt>
                <c:pt idx="2782">
                  <c:v>60</c:v>
                </c:pt>
                <c:pt idx="2783">
                  <c:v>60.32</c:v>
                </c:pt>
                <c:pt idx="2784">
                  <c:v>62.78</c:v>
                </c:pt>
                <c:pt idx="2785">
                  <c:v>61.09</c:v>
                </c:pt>
                <c:pt idx="2786">
                  <c:v>56.14</c:v>
                </c:pt>
                <c:pt idx="2787">
                  <c:v>56.84</c:v>
                </c:pt>
                <c:pt idx="2788">
                  <c:v>57.08</c:v>
                </c:pt>
                <c:pt idx="2789">
                  <c:v>54.76</c:v>
                </c:pt>
                <c:pt idx="2790">
                  <c:v>52.47</c:v>
                </c:pt>
                <c:pt idx="2791">
                  <c:v>51.32</c:v>
                </c:pt>
                <c:pt idx="2792">
                  <c:v>50.7</c:v>
                </c:pt>
                <c:pt idx="2793">
                  <c:v>50.82</c:v>
                </c:pt>
                <c:pt idx="2794">
                  <c:v>49.1</c:v>
                </c:pt>
                <c:pt idx="2795">
                  <c:v>48.35</c:v>
                </c:pt>
                <c:pt idx="2796">
                  <c:v>45.79</c:v>
                </c:pt>
                <c:pt idx="2797">
                  <c:v>44.91</c:v>
                </c:pt>
                <c:pt idx="2798">
                  <c:v>49.51</c:v>
                </c:pt>
                <c:pt idx="2799">
                  <c:v>47.51</c:v>
                </c:pt>
                <c:pt idx="2800">
                  <c:v>49.39</c:v>
                </c:pt>
                <c:pt idx="2801">
                  <c:v>47.72</c:v>
                </c:pt>
                <c:pt idx="2802">
                  <c:v>47.58</c:v>
                </c:pt>
                <c:pt idx="2803">
                  <c:v>45.64</c:v>
                </c:pt>
                <c:pt idx="2804">
                  <c:v>44.39</c:v>
                </c:pt>
                <c:pt idx="2805">
                  <c:v>43.83</c:v>
                </c:pt>
                <c:pt idx="2806">
                  <c:v>37.04</c:v>
                </c:pt>
                <c:pt idx="2807">
                  <c:v>40.020000000000003</c:v>
                </c:pt>
                <c:pt idx="2808">
                  <c:v>39.770000000000003</c:v>
                </c:pt>
                <c:pt idx="2809">
                  <c:v>39.340000000000003</c:v>
                </c:pt>
                <c:pt idx="2810">
                  <c:v>43.54</c:v>
                </c:pt>
                <c:pt idx="2811">
                  <c:v>42.38</c:v>
                </c:pt>
                <c:pt idx="2812">
                  <c:v>45.02</c:v>
                </c:pt>
                <c:pt idx="2813">
                  <c:v>42</c:v>
                </c:pt>
                <c:pt idx="2814">
                  <c:v>41.84</c:v>
                </c:pt>
                <c:pt idx="2815">
                  <c:v>40.19</c:v>
                </c:pt>
                <c:pt idx="2816">
                  <c:v>39.520000000000003</c:v>
                </c:pt>
                <c:pt idx="2817">
                  <c:v>38.08</c:v>
                </c:pt>
                <c:pt idx="2818">
                  <c:v>35.270000000000003</c:v>
                </c:pt>
                <c:pt idx="2819">
                  <c:v>34.450000000000003</c:v>
                </c:pt>
                <c:pt idx="2820">
                  <c:v>33.729999999999997</c:v>
                </c:pt>
                <c:pt idx="2821">
                  <c:v>34.159999999999997</c:v>
                </c:pt>
                <c:pt idx="2822">
                  <c:v>35.22</c:v>
                </c:pt>
                <c:pt idx="2823">
                  <c:v>35.82</c:v>
                </c:pt>
                <c:pt idx="2824">
                  <c:v>42.94</c:v>
                </c:pt>
                <c:pt idx="2825">
                  <c:v>45.84</c:v>
                </c:pt>
                <c:pt idx="2826">
                  <c:v>48.89</c:v>
                </c:pt>
                <c:pt idx="2827">
                  <c:v>46.23</c:v>
                </c:pt>
                <c:pt idx="2828">
                  <c:v>42.94</c:v>
                </c:pt>
                <c:pt idx="2829">
                  <c:v>42.34</c:v>
                </c:pt>
                <c:pt idx="2830">
                  <c:v>40.86</c:v>
                </c:pt>
                <c:pt idx="2831">
                  <c:v>43.05</c:v>
                </c:pt>
                <c:pt idx="2832">
                  <c:v>42.27</c:v>
                </c:pt>
                <c:pt idx="2833">
                  <c:v>42.32</c:v>
                </c:pt>
                <c:pt idx="2834">
                  <c:v>43.42</c:v>
                </c:pt>
                <c:pt idx="2835">
                  <c:v>41.22</c:v>
                </c:pt>
                <c:pt idx="2836">
                  <c:v>39.9</c:v>
                </c:pt>
                <c:pt idx="2837">
                  <c:v>42.42</c:v>
                </c:pt>
                <c:pt idx="2838">
                  <c:v>43.13</c:v>
                </c:pt>
                <c:pt idx="2839">
                  <c:v>48</c:v>
                </c:pt>
                <c:pt idx="2840">
                  <c:v>42.86</c:v>
                </c:pt>
                <c:pt idx="2841">
                  <c:v>42.86</c:v>
                </c:pt>
                <c:pt idx="2842">
                  <c:v>43.13</c:v>
                </c:pt>
                <c:pt idx="2843">
                  <c:v>44.17</c:v>
                </c:pt>
                <c:pt idx="2844">
                  <c:v>42.96</c:v>
                </c:pt>
                <c:pt idx="2845">
                  <c:v>43.15</c:v>
                </c:pt>
                <c:pt idx="2846">
                  <c:v>43.68</c:v>
                </c:pt>
                <c:pt idx="2847">
                  <c:v>43.92</c:v>
                </c:pt>
                <c:pt idx="2848">
                  <c:v>44.49</c:v>
                </c:pt>
                <c:pt idx="2849">
                  <c:v>47.23</c:v>
                </c:pt>
                <c:pt idx="2850">
                  <c:v>45.88</c:v>
                </c:pt>
                <c:pt idx="2851">
                  <c:v>44.24</c:v>
                </c:pt>
                <c:pt idx="2852">
                  <c:v>47.23</c:v>
                </c:pt>
                <c:pt idx="2853">
                  <c:v>43.36</c:v>
                </c:pt>
                <c:pt idx="2854">
                  <c:v>39.69</c:v>
                </c:pt>
                <c:pt idx="2855">
                  <c:v>39.409999999999997</c:v>
                </c:pt>
                <c:pt idx="2856">
                  <c:v>42.36</c:v>
                </c:pt>
                <c:pt idx="2857">
                  <c:v>42.19</c:v>
                </c:pt>
                <c:pt idx="2858">
                  <c:v>41.27</c:v>
                </c:pt>
                <c:pt idx="2859">
                  <c:v>40.18</c:v>
                </c:pt>
                <c:pt idx="2860">
                  <c:v>42.37</c:v>
                </c:pt>
                <c:pt idx="2861">
                  <c:v>45.15</c:v>
                </c:pt>
                <c:pt idx="2862">
                  <c:v>44.41</c:v>
                </c:pt>
                <c:pt idx="2863">
                  <c:v>42.6</c:v>
                </c:pt>
                <c:pt idx="2864">
                  <c:v>42.72</c:v>
                </c:pt>
                <c:pt idx="2865">
                  <c:v>46.07</c:v>
                </c:pt>
                <c:pt idx="2866">
                  <c:v>44.45</c:v>
                </c:pt>
                <c:pt idx="2867">
                  <c:v>43.48</c:v>
                </c:pt>
                <c:pt idx="2868">
                  <c:v>44.55</c:v>
                </c:pt>
                <c:pt idx="2869">
                  <c:v>44.99</c:v>
                </c:pt>
                <c:pt idx="2870">
                  <c:v>43.2</c:v>
                </c:pt>
                <c:pt idx="2871">
                  <c:v>42.19</c:v>
                </c:pt>
                <c:pt idx="2872">
                  <c:v>44.97</c:v>
                </c:pt>
                <c:pt idx="2873">
                  <c:v>44.12</c:v>
                </c:pt>
                <c:pt idx="2874">
                  <c:v>45.53</c:v>
                </c:pt>
                <c:pt idx="2875">
                  <c:v>45.22</c:v>
                </c:pt>
                <c:pt idx="2876">
                  <c:v>48.03</c:v>
                </c:pt>
                <c:pt idx="2877">
                  <c:v>49.27</c:v>
                </c:pt>
                <c:pt idx="2878">
                  <c:v>51.84</c:v>
                </c:pt>
                <c:pt idx="2879">
                  <c:v>51.32</c:v>
                </c:pt>
                <c:pt idx="2880">
                  <c:v>51.46</c:v>
                </c:pt>
                <c:pt idx="2881">
                  <c:v>51.89</c:v>
                </c:pt>
                <c:pt idx="2882">
                  <c:v>50.81</c:v>
                </c:pt>
                <c:pt idx="2883">
                  <c:v>49.05</c:v>
                </c:pt>
                <c:pt idx="2884">
                  <c:v>46.13</c:v>
                </c:pt>
                <c:pt idx="2885">
                  <c:v>45.92</c:v>
                </c:pt>
                <c:pt idx="2886">
                  <c:v>50.89</c:v>
                </c:pt>
                <c:pt idx="2887">
                  <c:v>50.48</c:v>
                </c:pt>
                <c:pt idx="2888">
                  <c:v>50.91</c:v>
                </c:pt>
                <c:pt idx="2889">
                  <c:v>50.62</c:v>
                </c:pt>
                <c:pt idx="2890">
                  <c:v>52.06</c:v>
                </c:pt>
                <c:pt idx="2891">
                  <c:v>52.33</c:v>
                </c:pt>
                <c:pt idx="2892">
                  <c:v>50.73</c:v>
                </c:pt>
                <c:pt idx="2893">
                  <c:v>52.06</c:v>
                </c:pt>
                <c:pt idx="2894">
                  <c:v>51.31</c:v>
                </c:pt>
                <c:pt idx="2895">
                  <c:v>51.83</c:v>
                </c:pt>
                <c:pt idx="2896">
                  <c:v>52.02</c:v>
                </c:pt>
                <c:pt idx="2897">
                  <c:v>49.06</c:v>
                </c:pt>
                <c:pt idx="2898">
                  <c:v>48.69</c:v>
                </c:pt>
                <c:pt idx="2899">
                  <c:v>48.5</c:v>
                </c:pt>
                <c:pt idx="2900">
                  <c:v>48.29</c:v>
                </c:pt>
                <c:pt idx="2901">
                  <c:v>50.29</c:v>
                </c:pt>
                <c:pt idx="2902">
                  <c:v>48.67</c:v>
                </c:pt>
                <c:pt idx="2903">
                  <c:v>48.64</c:v>
                </c:pt>
                <c:pt idx="2904">
                  <c:v>50.22</c:v>
                </c:pt>
                <c:pt idx="2905">
                  <c:v>50.3</c:v>
                </c:pt>
                <c:pt idx="2906">
                  <c:v>51.75</c:v>
                </c:pt>
                <c:pt idx="2907">
                  <c:v>53.26</c:v>
                </c:pt>
                <c:pt idx="2908">
                  <c:v>53.16</c:v>
                </c:pt>
                <c:pt idx="2909">
                  <c:v>55.07</c:v>
                </c:pt>
                <c:pt idx="2910">
                  <c:v>56.63</c:v>
                </c:pt>
                <c:pt idx="2911">
                  <c:v>56.02</c:v>
                </c:pt>
                <c:pt idx="2912">
                  <c:v>55.99</c:v>
                </c:pt>
                <c:pt idx="2913">
                  <c:v>56.52</c:v>
                </c:pt>
                <c:pt idx="2914">
                  <c:v>56.84</c:v>
                </c:pt>
                <c:pt idx="2915">
                  <c:v>56.25</c:v>
                </c:pt>
                <c:pt idx="2916">
                  <c:v>56.33</c:v>
                </c:pt>
                <c:pt idx="2917">
                  <c:v>56.51</c:v>
                </c:pt>
                <c:pt idx="2918">
                  <c:v>57.12</c:v>
                </c:pt>
                <c:pt idx="2919">
                  <c:v>59.1</c:v>
                </c:pt>
                <c:pt idx="2920">
                  <c:v>58.02</c:v>
                </c:pt>
                <c:pt idx="2921">
                  <c:v>58.7</c:v>
                </c:pt>
                <c:pt idx="2922">
                  <c:v>59.05</c:v>
                </c:pt>
                <c:pt idx="2923">
                  <c:v>61.28</c:v>
                </c:pt>
                <c:pt idx="2924">
                  <c:v>63.47</c:v>
                </c:pt>
                <c:pt idx="2925">
                  <c:v>64.98</c:v>
                </c:pt>
                <c:pt idx="2926">
                  <c:v>66.599999999999994</c:v>
                </c:pt>
                <c:pt idx="2927">
                  <c:v>67.67</c:v>
                </c:pt>
                <c:pt idx="2928">
                  <c:v>66.150000000000006</c:v>
                </c:pt>
                <c:pt idx="2929">
                  <c:v>67.680000000000007</c:v>
                </c:pt>
                <c:pt idx="2930">
                  <c:v>67.77</c:v>
                </c:pt>
                <c:pt idx="2931">
                  <c:v>67.61</c:v>
                </c:pt>
                <c:pt idx="2932">
                  <c:v>68.94</c:v>
                </c:pt>
                <c:pt idx="2933">
                  <c:v>70.52</c:v>
                </c:pt>
                <c:pt idx="2934">
                  <c:v>71.709999999999994</c:v>
                </c:pt>
                <c:pt idx="2935">
                  <c:v>70.62</c:v>
                </c:pt>
                <c:pt idx="2936">
                  <c:v>68.489999999999995</c:v>
                </c:pt>
                <c:pt idx="2937">
                  <c:v>70.52</c:v>
                </c:pt>
                <c:pt idx="2938">
                  <c:v>68.95</c:v>
                </c:pt>
                <c:pt idx="2939">
                  <c:v>69.959999999999994</c:v>
                </c:pt>
                <c:pt idx="2940">
                  <c:v>70.48</c:v>
                </c:pt>
                <c:pt idx="2941">
                  <c:v>66.13</c:v>
                </c:pt>
                <c:pt idx="2942">
                  <c:v>66.36</c:v>
                </c:pt>
                <c:pt idx="2943">
                  <c:v>68.47</c:v>
                </c:pt>
                <c:pt idx="2944">
                  <c:v>68.819999999999993</c:v>
                </c:pt>
                <c:pt idx="2945">
                  <c:v>68.099999999999994</c:v>
                </c:pt>
                <c:pt idx="2946">
                  <c:v>69.75</c:v>
                </c:pt>
                <c:pt idx="2947">
                  <c:v>68.11</c:v>
                </c:pt>
                <c:pt idx="2948">
                  <c:v>68.52</c:v>
                </c:pt>
                <c:pt idx="2949">
                  <c:v>65.739999999999995</c:v>
                </c:pt>
                <c:pt idx="2950">
                  <c:v>63.12</c:v>
                </c:pt>
                <c:pt idx="2951">
                  <c:v>61.54</c:v>
                </c:pt>
                <c:pt idx="2952">
                  <c:v>59.71</c:v>
                </c:pt>
                <c:pt idx="2953">
                  <c:v>59.17</c:v>
                </c:pt>
                <c:pt idx="2954">
                  <c:v>58.43</c:v>
                </c:pt>
                <c:pt idx="2955">
                  <c:v>58.25</c:v>
                </c:pt>
                <c:pt idx="2956">
                  <c:v>60.48</c:v>
                </c:pt>
                <c:pt idx="2957">
                  <c:v>61.25</c:v>
                </c:pt>
                <c:pt idx="2958">
                  <c:v>62.02</c:v>
                </c:pt>
                <c:pt idx="2959">
                  <c:v>63.54</c:v>
                </c:pt>
                <c:pt idx="2960">
                  <c:v>64.64</c:v>
                </c:pt>
                <c:pt idx="2961">
                  <c:v>65.930000000000007</c:v>
                </c:pt>
                <c:pt idx="2962">
                  <c:v>65.36</c:v>
                </c:pt>
                <c:pt idx="2963">
                  <c:v>68.06</c:v>
                </c:pt>
                <c:pt idx="2964">
                  <c:v>68.819999999999993</c:v>
                </c:pt>
                <c:pt idx="2965">
                  <c:v>69.78</c:v>
                </c:pt>
                <c:pt idx="2966">
                  <c:v>68.53</c:v>
                </c:pt>
                <c:pt idx="2967">
                  <c:v>65.790000000000006</c:v>
                </c:pt>
                <c:pt idx="2968">
                  <c:v>68.819999999999993</c:v>
                </c:pt>
                <c:pt idx="2969">
                  <c:v>70.08</c:v>
                </c:pt>
                <c:pt idx="2970">
                  <c:v>72.900000000000006</c:v>
                </c:pt>
                <c:pt idx="2971">
                  <c:v>73.819999999999993</c:v>
                </c:pt>
                <c:pt idx="2972">
                  <c:v>74.39</c:v>
                </c:pt>
                <c:pt idx="2973">
                  <c:v>74.61</c:v>
                </c:pt>
                <c:pt idx="2974">
                  <c:v>74.209999999999994</c:v>
                </c:pt>
                <c:pt idx="2975">
                  <c:v>73.790000000000006</c:v>
                </c:pt>
                <c:pt idx="2976">
                  <c:v>71.58</c:v>
                </c:pt>
                <c:pt idx="2977">
                  <c:v>74.03</c:v>
                </c:pt>
                <c:pt idx="2978">
                  <c:v>73.760000000000005</c:v>
                </c:pt>
                <c:pt idx="2979">
                  <c:v>71.33</c:v>
                </c:pt>
                <c:pt idx="2980">
                  <c:v>68.650000000000006</c:v>
                </c:pt>
                <c:pt idx="2981">
                  <c:v>68.66</c:v>
                </c:pt>
                <c:pt idx="2982">
                  <c:v>72.81</c:v>
                </c:pt>
                <c:pt idx="2983">
                  <c:v>73.75</c:v>
                </c:pt>
                <c:pt idx="2984">
                  <c:v>73.709999999999994</c:v>
                </c:pt>
                <c:pt idx="2985">
                  <c:v>74.34</c:v>
                </c:pt>
                <c:pt idx="2986">
                  <c:v>73.099999999999994</c:v>
                </c:pt>
                <c:pt idx="2987">
                  <c:v>70.739999999999995</c:v>
                </c:pt>
                <c:pt idx="2988">
                  <c:v>70.680000000000007</c:v>
                </c:pt>
                <c:pt idx="2989">
                  <c:v>72.8</c:v>
                </c:pt>
                <c:pt idx="2990">
                  <c:v>69.02</c:v>
                </c:pt>
                <c:pt idx="2991">
                  <c:v>68.78</c:v>
                </c:pt>
                <c:pt idx="2992">
                  <c:v>67.599999999999994</c:v>
                </c:pt>
                <c:pt idx="2993">
                  <c:v>66.78</c:v>
                </c:pt>
                <c:pt idx="2994">
                  <c:v>65.84</c:v>
                </c:pt>
                <c:pt idx="2995">
                  <c:v>69.2</c:v>
                </c:pt>
                <c:pt idx="2996">
                  <c:v>69.760000000000005</c:v>
                </c:pt>
                <c:pt idx="2997">
                  <c:v>68.959999999999994</c:v>
                </c:pt>
                <c:pt idx="2998">
                  <c:v>68.760000000000005</c:v>
                </c:pt>
                <c:pt idx="2999">
                  <c:v>66.91</c:v>
                </c:pt>
                <c:pt idx="3000">
                  <c:v>66.53</c:v>
                </c:pt>
                <c:pt idx="3001">
                  <c:v>68.510000000000005</c:v>
                </c:pt>
                <c:pt idx="3002">
                  <c:v>71.56</c:v>
                </c:pt>
                <c:pt idx="3003">
                  <c:v>70.72</c:v>
                </c:pt>
                <c:pt idx="3004">
                  <c:v>68.11</c:v>
                </c:pt>
                <c:pt idx="3005">
                  <c:v>69.650000000000006</c:v>
                </c:pt>
                <c:pt idx="3006">
                  <c:v>67.430000000000007</c:v>
                </c:pt>
                <c:pt idx="3007">
                  <c:v>64.989999999999995</c:v>
                </c:pt>
                <c:pt idx="3008">
                  <c:v>64.599999999999994</c:v>
                </c:pt>
                <c:pt idx="3009">
                  <c:v>65.430000000000007</c:v>
                </c:pt>
                <c:pt idx="3010">
                  <c:v>64.63</c:v>
                </c:pt>
                <c:pt idx="3011">
                  <c:v>65.819999999999993</c:v>
                </c:pt>
                <c:pt idx="3012">
                  <c:v>67.12</c:v>
                </c:pt>
                <c:pt idx="3013">
                  <c:v>66.5</c:v>
                </c:pt>
                <c:pt idx="3014">
                  <c:v>65.260000000000005</c:v>
                </c:pt>
                <c:pt idx="3015">
                  <c:v>68.510000000000005</c:v>
                </c:pt>
                <c:pt idx="3016">
                  <c:v>67.650000000000006</c:v>
                </c:pt>
                <c:pt idx="3017">
                  <c:v>68.47</c:v>
                </c:pt>
                <c:pt idx="3018">
                  <c:v>69.45</c:v>
                </c:pt>
                <c:pt idx="3019">
                  <c:v>70.75</c:v>
                </c:pt>
                <c:pt idx="3020">
                  <c:v>70.81</c:v>
                </c:pt>
                <c:pt idx="3021">
                  <c:v>72.16</c:v>
                </c:pt>
                <c:pt idx="3022">
                  <c:v>73.14</c:v>
                </c:pt>
                <c:pt idx="3023">
                  <c:v>74.58</c:v>
                </c:pt>
                <c:pt idx="3024">
                  <c:v>75.86</c:v>
                </c:pt>
                <c:pt idx="3025">
                  <c:v>76.510000000000005</c:v>
                </c:pt>
                <c:pt idx="3026">
                  <c:v>77.739999999999995</c:v>
                </c:pt>
                <c:pt idx="3027">
                  <c:v>78.36</c:v>
                </c:pt>
                <c:pt idx="3028">
                  <c:v>77.72</c:v>
                </c:pt>
                <c:pt idx="3029">
                  <c:v>76.45</c:v>
                </c:pt>
                <c:pt idx="3030">
                  <c:v>76.69</c:v>
                </c:pt>
                <c:pt idx="3031">
                  <c:v>75.11</c:v>
                </c:pt>
                <c:pt idx="3032">
                  <c:v>77.180000000000007</c:v>
                </c:pt>
                <c:pt idx="3033">
                  <c:v>74.91</c:v>
                </c:pt>
                <c:pt idx="3034">
                  <c:v>75.56</c:v>
                </c:pt>
                <c:pt idx="3035">
                  <c:v>75.680000000000007</c:v>
                </c:pt>
                <c:pt idx="3036">
                  <c:v>78.209999999999994</c:v>
                </c:pt>
                <c:pt idx="3037">
                  <c:v>78.02</c:v>
                </c:pt>
                <c:pt idx="3038">
                  <c:v>75.510000000000005</c:v>
                </c:pt>
                <c:pt idx="3039">
                  <c:v>77.180000000000007</c:v>
                </c:pt>
                <c:pt idx="3040">
                  <c:v>77.069999999999993</c:v>
                </c:pt>
                <c:pt idx="3041">
                  <c:v>76.989999999999995</c:v>
                </c:pt>
                <c:pt idx="3042">
                  <c:v>75.180000000000007</c:v>
                </c:pt>
                <c:pt idx="3043">
                  <c:v>74.81</c:v>
                </c:pt>
                <c:pt idx="3044">
                  <c:v>77.14</c:v>
                </c:pt>
                <c:pt idx="3045">
                  <c:v>77.36</c:v>
                </c:pt>
                <c:pt idx="3046">
                  <c:v>78.64</c:v>
                </c:pt>
                <c:pt idx="3047">
                  <c:v>76.45</c:v>
                </c:pt>
                <c:pt idx="3048">
                  <c:v>75.61</c:v>
                </c:pt>
                <c:pt idx="3049">
                  <c:v>78.14</c:v>
                </c:pt>
                <c:pt idx="3050">
                  <c:v>75.349999999999994</c:v>
                </c:pt>
                <c:pt idx="3051">
                  <c:v>76.569999999999993</c:v>
                </c:pt>
                <c:pt idx="3052">
                  <c:v>76</c:v>
                </c:pt>
                <c:pt idx="3053">
                  <c:v>77.77</c:v>
                </c:pt>
                <c:pt idx="3054">
                  <c:v>78.680000000000007</c:v>
                </c:pt>
                <c:pt idx="3055">
                  <c:v>76.959999999999994</c:v>
                </c:pt>
                <c:pt idx="3056">
                  <c:v>77.760000000000005</c:v>
                </c:pt>
                <c:pt idx="3057">
                  <c:v>77.739999999999995</c:v>
                </c:pt>
                <c:pt idx="3058">
                  <c:v>76.180000000000007</c:v>
                </c:pt>
                <c:pt idx="3059">
                  <c:v>74.930000000000007</c:v>
                </c:pt>
                <c:pt idx="3060">
                  <c:v>73.63</c:v>
                </c:pt>
                <c:pt idx="3061">
                  <c:v>70.91</c:v>
                </c:pt>
                <c:pt idx="3062">
                  <c:v>70.069999999999993</c:v>
                </c:pt>
                <c:pt idx="3063">
                  <c:v>71.19</c:v>
                </c:pt>
                <c:pt idx="3064">
                  <c:v>71.33</c:v>
                </c:pt>
                <c:pt idx="3065">
                  <c:v>73.34</c:v>
                </c:pt>
                <c:pt idx="3066">
                  <c:v>71.28</c:v>
                </c:pt>
                <c:pt idx="3067">
                  <c:v>71.87</c:v>
                </c:pt>
                <c:pt idx="3068">
                  <c:v>72.739999999999995</c:v>
                </c:pt>
                <c:pt idx="3069">
                  <c:v>71.64</c:v>
                </c:pt>
                <c:pt idx="3070">
                  <c:v>73.87</c:v>
                </c:pt>
                <c:pt idx="3071">
                  <c:v>75.150000000000006</c:v>
                </c:pt>
                <c:pt idx="3072">
                  <c:v>76.59</c:v>
                </c:pt>
                <c:pt idx="3073">
                  <c:v>76.650000000000006</c:v>
                </c:pt>
                <c:pt idx="3074">
                  <c:v>77.62</c:v>
                </c:pt>
                <c:pt idx="3075">
                  <c:v>77.91</c:v>
                </c:pt>
                <c:pt idx="3076">
                  <c:v>79.05</c:v>
                </c:pt>
                <c:pt idx="3077">
                  <c:v>79.27</c:v>
                </c:pt>
                <c:pt idx="3078">
                  <c:v>80.14</c:v>
                </c:pt>
                <c:pt idx="3079">
                  <c:v>80.569999999999993</c:v>
                </c:pt>
                <c:pt idx="3080">
                  <c:v>80.06</c:v>
                </c:pt>
                <c:pt idx="3081">
                  <c:v>80.14</c:v>
                </c:pt>
                <c:pt idx="3082">
                  <c:v>79.38</c:v>
                </c:pt>
                <c:pt idx="3083">
                  <c:v>77.569999999999993</c:v>
                </c:pt>
                <c:pt idx="3084">
                  <c:v>77.61</c:v>
                </c:pt>
                <c:pt idx="3085">
                  <c:v>76.849999999999994</c:v>
                </c:pt>
                <c:pt idx="3086">
                  <c:v>75.180000000000007</c:v>
                </c:pt>
                <c:pt idx="3087">
                  <c:v>75.09</c:v>
                </c:pt>
                <c:pt idx="3088">
                  <c:v>74.13</c:v>
                </c:pt>
                <c:pt idx="3089">
                  <c:v>72.73</c:v>
                </c:pt>
                <c:pt idx="3090">
                  <c:v>72.180000000000007</c:v>
                </c:pt>
                <c:pt idx="3091">
                  <c:v>72.63</c:v>
                </c:pt>
                <c:pt idx="3092">
                  <c:v>72.75</c:v>
                </c:pt>
                <c:pt idx="3093">
                  <c:v>70.650000000000006</c:v>
                </c:pt>
                <c:pt idx="3094">
                  <c:v>71.2</c:v>
                </c:pt>
                <c:pt idx="3095">
                  <c:v>71.58</c:v>
                </c:pt>
                <c:pt idx="3096">
                  <c:v>73.94</c:v>
                </c:pt>
                <c:pt idx="3097">
                  <c:v>75.77</c:v>
                </c:pt>
                <c:pt idx="3098">
                  <c:v>71.3</c:v>
                </c:pt>
                <c:pt idx="3099">
                  <c:v>70.11</c:v>
                </c:pt>
                <c:pt idx="3100">
                  <c:v>69.62</c:v>
                </c:pt>
                <c:pt idx="3101">
                  <c:v>70.400000000000006</c:v>
                </c:pt>
                <c:pt idx="3102">
                  <c:v>70.400000000000006</c:v>
                </c:pt>
                <c:pt idx="3103">
                  <c:v>72.349999999999994</c:v>
                </c:pt>
                <c:pt idx="3104">
                  <c:v>71.489999999999995</c:v>
                </c:pt>
                <c:pt idx="3105">
                  <c:v>74.819999999999993</c:v>
                </c:pt>
                <c:pt idx="3106">
                  <c:v>74.89</c:v>
                </c:pt>
                <c:pt idx="3107">
                  <c:v>76.61</c:v>
                </c:pt>
                <c:pt idx="3108">
                  <c:v>76.88</c:v>
                </c:pt>
                <c:pt idx="3109">
                  <c:v>76.95</c:v>
                </c:pt>
                <c:pt idx="3110">
                  <c:v>76.44</c:v>
                </c:pt>
                <c:pt idx="3111">
                  <c:v>77</c:v>
                </c:pt>
                <c:pt idx="3112">
                  <c:v>74.38</c:v>
                </c:pt>
                <c:pt idx="3113">
                  <c:v>76.36</c:v>
                </c:pt>
                <c:pt idx="3114">
                  <c:v>76.069999999999993</c:v>
                </c:pt>
                <c:pt idx="3115">
                  <c:v>77.5</c:v>
                </c:pt>
                <c:pt idx="3116">
                  <c:v>78.66</c:v>
                </c:pt>
                <c:pt idx="3117">
                  <c:v>77.88</c:v>
                </c:pt>
                <c:pt idx="3118">
                  <c:v>79.2</c:v>
                </c:pt>
                <c:pt idx="3119">
                  <c:v>78.94</c:v>
                </c:pt>
                <c:pt idx="3120">
                  <c:v>78.77</c:v>
                </c:pt>
                <c:pt idx="3121">
                  <c:v>80.290000000000006</c:v>
                </c:pt>
                <c:pt idx="3122">
                  <c:v>79.44</c:v>
                </c:pt>
                <c:pt idx="3123">
                  <c:v>79.38</c:v>
                </c:pt>
                <c:pt idx="3124">
                  <c:v>77.08</c:v>
                </c:pt>
                <c:pt idx="3125">
                  <c:v>79.45</c:v>
                </c:pt>
                <c:pt idx="3126">
                  <c:v>80.28</c:v>
                </c:pt>
                <c:pt idx="3127">
                  <c:v>80.09</c:v>
                </c:pt>
                <c:pt idx="3128">
                  <c:v>78.37</c:v>
                </c:pt>
                <c:pt idx="3129">
                  <c:v>78.09</c:v>
                </c:pt>
                <c:pt idx="3130">
                  <c:v>79.17</c:v>
                </c:pt>
                <c:pt idx="3131">
                  <c:v>78.03</c:v>
                </c:pt>
                <c:pt idx="3132">
                  <c:v>78.64</c:v>
                </c:pt>
                <c:pt idx="3133">
                  <c:v>77.98</c:v>
                </c:pt>
                <c:pt idx="3134">
                  <c:v>79.89</c:v>
                </c:pt>
                <c:pt idx="3135">
                  <c:v>79.459999999999994</c:v>
                </c:pt>
                <c:pt idx="3136">
                  <c:v>80.37</c:v>
                </c:pt>
                <c:pt idx="3137">
                  <c:v>82.63</c:v>
                </c:pt>
                <c:pt idx="3138">
                  <c:v>84.48</c:v>
                </c:pt>
                <c:pt idx="3139">
                  <c:v>85.05</c:v>
                </c:pt>
                <c:pt idx="3140">
                  <c:v>84.49</c:v>
                </c:pt>
                <c:pt idx="3141">
                  <c:v>82.63</c:v>
                </c:pt>
                <c:pt idx="3142">
                  <c:v>82.77</c:v>
                </c:pt>
                <c:pt idx="3143">
                  <c:v>85.21</c:v>
                </c:pt>
                <c:pt idx="3144">
                  <c:v>83.44</c:v>
                </c:pt>
                <c:pt idx="3145">
                  <c:v>85.81</c:v>
                </c:pt>
                <c:pt idx="3146">
                  <c:v>86.9</c:v>
                </c:pt>
                <c:pt idx="3147">
                  <c:v>84.81</c:v>
                </c:pt>
                <c:pt idx="3148">
                  <c:v>83.09</c:v>
                </c:pt>
                <c:pt idx="3149">
                  <c:v>84.73</c:v>
                </c:pt>
                <c:pt idx="3150">
                  <c:v>84.55</c:v>
                </c:pt>
                <c:pt idx="3151">
                  <c:v>84.58</c:v>
                </c:pt>
                <c:pt idx="3152">
                  <c:v>86.09</c:v>
                </c:pt>
                <c:pt idx="3153">
                  <c:v>86.72</c:v>
                </c:pt>
                <c:pt idx="3154">
                  <c:v>85.59</c:v>
                </c:pt>
                <c:pt idx="3155">
                  <c:v>84.59</c:v>
                </c:pt>
                <c:pt idx="3156">
                  <c:v>86.82</c:v>
                </c:pt>
                <c:pt idx="3157">
                  <c:v>86.19</c:v>
                </c:pt>
                <c:pt idx="3158">
                  <c:v>88.09</c:v>
                </c:pt>
                <c:pt idx="3159">
                  <c:v>85.39</c:v>
                </c:pt>
                <c:pt idx="3160">
                  <c:v>82.31</c:v>
                </c:pt>
                <c:pt idx="3161">
                  <c:v>80.209999999999994</c:v>
                </c:pt>
                <c:pt idx="3162">
                  <c:v>76.48</c:v>
                </c:pt>
                <c:pt idx="3163">
                  <c:v>78.08</c:v>
                </c:pt>
                <c:pt idx="3164">
                  <c:v>79</c:v>
                </c:pt>
                <c:pt idx="3165">
                  <c:v>78.7</c:v>
                </c:pt>
                <c:pt idx="3166">
                  <c:v>79.41</c:v>
                </c:pt>
                <c:pt idx="3167">
                  <c:v>76.430000000000007</c:v>
                </c:pt>
                <c:pt idx="3168">
                  <c:v>73.87</c:v>
                </c:pt>
                <c:pt idx="3169">
                  <c:v>75.12</c:v>
                </c:pt>
                <c:pt idx="3170">
                  <c:v>71.86</c:v>
                </c:pt>
                <c:pt idx="3171">
                  <c:v>69.56</c:v>
                </c:pt>
                <c:pt idx="3172">
                  <c:v>70.45</c:v>
                </c:pt>
                <c:pt idx="3173">
                  <c:v>69.62</c:v>
                </c:pt>
                <c:pt idx="3174">
                  <c:v>67.180000000000007</c:v>
                </c:pt>
                <c:pt idx="3175">
                  <c:v>70.59</c:v>
                </c:pt>
                <c:pt idx="3176">
                  <c:v>73.56</c:v>
                </c:pt>
                <c:pt idx="3177">
                  <c:v>73</c:v>
                </c:pt>
                <c:pt idx="3178">
                  <c:v>73.08</c:v>
                </c:pt>
                <c:pt idx="3179">
                  <c:v>72.78</c:v>
                </c:pt>
                <c:pt idx="3180">
                  <c:v>73.12</c:v>
                </c:pt>
                <c:pt idx="3181">
                  <c:v>71.84</c:v>
                </c:pt>
                <c:pt idx="3182">
                  <c:v>71.09</c:v>
                </c:pt>
                <c:pt idx="3183">
                  <c:v>71.430000000000007</c:v>
                </c:pt>
                <c:pt idx="3184">
                  <c:v>73.680000000000007</c:v>
                </c:pt>
                <c:pt idx="3185">
                  <c:v>74.33</c:v>
                </c:pt>
                <c:pt idx="3186">
                  <c:v>73.28</c:v>
                </c:pt>
                <c:pt idx="3187">
                  <c:v>75.11</c:v>
                </c:pt>
                <c:pt idx="3188">
                  <c:v>75.290000000000006</c:v>
                </c:pt>
                <c:pt idx="3189">
                  <c:v>76.12</c:v>
                </c:pt>
                <c:pt idx="3190">
                  <c:v>77.52</c:v>
                </c:pt>
                <c:pt idx="3191">
                  <c:v>77.05</c:v>
                </c:pt>
                <c:pt idx="3192">
                  <c:v>78.53</c:v>
                </c:pt>
                <c:pt idx="3193">
                  <c:v>78.08</c:v>
                </c:pt>
                <c:pt idx="3194">
                  <c:v>75.22</c:v>
                </c:pt>
                <c:pt idx="3195">
                  <c:v>75.17</c:v>
                </c:pt>
                <c:pt idx="3196">
                  <c:v>76.209999999999994</c:v>
                </c:pt>
                <c:pt idx="3197">
                  <c:v>76.66</c:v>
                </c:pt>
                <c:pt idx="3198">
                  <c:v>74.209999999999994</c:v>
                </c:pt>
                <c:pt idx="3199">
                  <c:v>74.94</c:v>
                </c:pt>
                <c:pt idx="3200">
                  <c:v>71.73</c:v>
                </c:pt>
                <c:pt idx="3201">
                  <c:v>71.75</c:v>
                </c:pt>
                <c:pt idx="3202">
                  <c:v>73.08</c:v>
                </c:pt>
                <c:pt idx="3203">
                  <c:v>72.97</c:v>
                </c:pt>
                <c:pt idx="3204">
                  <c:v>74.56</c:v>
                </c:pt>
                <c:pt idx="3205">
                  <c:v>75.2</c:v>
                </c:pt>
                <c:pt idx="3206">
                  <c:v>74.349999999999994</c:v>
                </c:pt>
                <c:pt idx="3207">
                  <c:v>76.45</c:v>
                </c:pt>
                <c:pt idx="3208">
                  <c:v>76.63</c:v>
                </c:pt>
                <c:pt idx="3209">
                  <c:v>75.52</c:v>
                </c:pt>
                <c:pt idx="3210">
                  <c:v>75.55</c:v>
                </c:pt>
                <c:pt idx="3211">
                  <c:v>76.290000000000006</c:v>
                </c:pt>
                <c:pt idx="3212">
                  <c:v>76.31</c:v>
                </c:pt>
                <c:pt idx="3213">
                  <c:v>75.75</c:v>
                </c:pt>
                <c:pt idx="3214">
                  <c:v>77.59</c:v>
                </c:pt>
                <c:pt idx="3215">
                  <c:v>77.27</c:v>
                </c:pt>
                <c:pt idx="3216">
                  <c:v>77.900000000000006</c:v>
                </c:pt>
                <c:pt idx="3217">
                  <c:v>75.52</c:v>
                </c:pt>
                <c:pt idx="3218">
                  <c:v>76.66</c:v>
                </c:pt>
                <c:pt idx="3219">
                  <c:v>78.599999999999994</c:v>
                </c:pt>
                <c:pt idx="3220">
                  <c:v>77.5</c:v>
                </c:pt>
                <c:pt idx="3221">
                  <c:v>81.93</c:v>
                </c:pt>
                <c:pt idx="3222">
                  <c:v>83.6</c:v>
                </c:pt>
                <c:pt idx="3223">
                  <c:v>83.76</c:v>
                </c:pt>
                <c:pt idx="3224">
                  <c:v>82.9</c:v>
                </c:pt>
                <c:pt idx="3225">
                  <c:v>81.28</c:v>
                </c:pt>
                <c:pt idx="3226">
                  <c:v>81.540000000000006</c:v>
                </c:pt>
                <c:pt idx="3227">
                  <c:v>79.89</c:v>
                </c:pt>
                <c:pt idx="3228">
                  <c:v>77.83</c:v>
                </c:pt>
                <c:pt idx="3229">
                  <c:v>76.63</c:v>
                </c:pt>
                <c:pt idx="3230">
                  <c:v>75.14</c:v>
                </c:pt>
                <c:pt idx="3231">
                  <c:v>74.56</c:v>
                </c:pt>
                <c:pt idx="3232">
                  <c:v>76.739999999999995</c:v>
                </c:pt>
                <c:pt idx="3233">
                  <c:v>75.099999999999994</c:v>
                </c:pt>
                <c:pt idx="3234">
                  <c:v>74.84</c:v>
                </c:pt>
                <c:pt idx="3235">
                  <c:v>73.48</c:v>
                </c:pt>
                <c:pt idx="3236">
                  <c:v>73.08</c:v>
                </c:pt>
                <c:pt idx="3237">
                  <c:v>70.61</c:v>
                </c:pt>
                <c:pt idx="3238">
                  <c:v>70.739999999999995</c:v>
                </c:pt>
                <c:pt idx="3239">
                  <c:v>74.5</c:v>
                </c:pt>
                <c:pt idx="3240">
                  <c:v>75.16</c:v>
                </c:pt>
                <c:pt idx="3241">
                  <c:v>76.05</c:v>
                </c:pt>
                <c:pt idx="3242">
                  <c:v>75.510000000000005</c:v>
                </c:pt>
                <c:pt idx="3243">
                  <c:v>75.53</c:v>
                </c:pt>
                <c:pt idx="3244">
                  <c:v>74.930000000000007</c:v>
                </c:pt>
                <c:pt idx="3245">
                  <c:v>75.03</c:v>
                </c:pt>
                <c:pt idx="3246">
                  <c:v>75.78</c:v>
                </c:pt>
                <c:pt idx="3247">
                  <c:v>77.48</c:v>
                </c:pt>
                <c:pt idx="3248">
                  <c:v>77.87</c:v>
                </c:pt>
                <c:pt idx="3249">
                  <c:v>77.540000000000006</c:v>
                </c:pt>
                <c:pt idx="3250">
                  <c:v>78.52</c:v>
                </c:pt>
                <c:pt idx="3251">
                  <c:v>78.89</c:v>
                </c:pt>
                <c:pt idx="3252">
                  <c:v>78.459999999999994</c:v>
                </c:pt>
                <c:pt idx="3253">
                  <c:v>78.89</c:v>
                </c:pt>
                <c:pt idx="3254">
                  <c:v>77.430000000000007</c:v>
                </c:pt>
                <c:pt idx="3255">
                  <c:v>79.42</c:v>
                </c:pt>
                <c:pt idx="3256">
                  <c:v>78.760000000000005</c:v>
                </c:pt>
                <c:pt idx="3257">
                  <c:v>77.290000000000006</c:v>
                </c:pt>
                <c:pt idx="3258">
                  <c:v>77.69</c:v>
                </c:pt>
                <c:pt idx="3259">
                  <c:v>78.73</c:v>
                </c:pt>
                <c:pt idx="3260">
                  <c:v>77.709999999999994</c:v>
                </c:pt>
                <c:pt idx="3261">
                  <c:v>79.14</c:v>
                </c:pt>
                <c:pt idx="3262">
                  <c:v>78.790000000000006</c:v>
                </c:pt>
                <c:pt idx="3263">
                  <c:v>80.77</c:v>
                </c:pt>
                <c:pt idx="3264">
                  <c:v>82.69</c:v>
                </c:pt>
                <c:pt idx="3265">
                  <c:v>83.42</c:v>
                </c:pt>
                <c:pt idx="3266">
                  <c:v>83.35</c:v>
                </c:pt>
                <c:pt idx="3267">
                  <c:v>85.01</c:v>
                </c:pt>
                <c:pt idx="3268">
                  <c:v>83.67</c:v>
                </c:pt>
                <c:pt idx="3269">
                  <c:v>83.88</c:v>
                </c:pt>
                <c:pt idx="3270">
                  <c:v>83.08</c:v>
                </c:pt>
                <c:pt idx="3271">
                  <c:v>82.99</c:v>
                </c:pt>
                <c:pt idx="3272">
                  <c:v>84.01</c:v>
                </c:pt>
                <c:pt idx="3273">
                  <c:v>83.55</c:v>
                </c:pt>
                <c:pt idx="3274">
                  <c:v>81.94</c:v>
                </c:pt>
                <c:pt idx="3275">
                  <c:v>82.3</c:v>
                </c:pt>
                <c:pt idx="3276">
                  <c:v>81.12</c:v>
                </c:pt>
                <c:pt idx="3277">
                  <c:v>81.680000000000007</c:v>
                </c:pt>
                <c:pt idx="3278">
                  <c:v>81.28</c:v>
                </c:pt>
                <c:pt idx="3279">
                  <c:v>80.75</c:v>
                </c:pt>
                <c:pt idx="3280">
                  <c:v>81.91</c:v>
                </c:pt>
                <c:pt idx="3281">
                  <c:v>82.62</c:v>
                </c:pt>
                <c:pt idx="3282">
                  <c:v>81.27</c:v>
                </c:pt>
                <c:pt idx="3283">
                  <c:v>82.97</c:v>
                </c:pt>
                <c:pt idx="3284">
                  <c:v>82.47</c:v>
                </c:pt>
                <c:pt idx="3285">
                  <c:v>84.06</c:v>
                </c:pt>
                <c:pt idx="3286">
                  <c:v>84.71</c:v>
                </c:pt>
                <c:pt idx="3287">
                  <c:v>85.33</c:v>
                </c:pt>
                <c:pt idx="3288">
                  <c:v>86.83</c:v>
                </c:pt>
                <c:pt idx="3289">
                  <c:v>87.05</c:v>
                </c:pt>
                <c:pt idx="3290">
                  <c:v>87.15</c:v>
                </c:pt>
                <c:pt idx="3291">
                  <c:v>87.93</c:v>
                </c:pt>
                <c:pt idx="3292">
                  <c:v>87.92</c:v>
                </c:pt>
                <c:pt idx="3293">
                  <c:v>88.08</c:v>
                </c:pt>
                <c:pt idx="3294">
                  <c:v>86.07</c:v>
                </c:pt>
                <c:pt idx="3295">
                  <c:v>85.49</c:v>
                </c:pt>
                <c:pt idx="3296">
                  <c:v>83.98</c:v>
                </c:pt>
                <c:pt idx="3297">
                  <c:v>83.36</c:v>
                </c:pt>
                <c:pt idx="3298">
                  <c:v>83.7</c:v>
                </c:pt>
                <c:pt idx="3299">
                  <c:v>83.17</c:v>
                </c:pt>
                <c:pt idx="3300">
                  <c:v>82.34</c:v>
                </c:pt>
                <c:pt idx="3301">
                  <c:v>82.37</c:v>
                </c:pt>
                <c:pt idx="3302">
                  <c:v>84.53</c:v>
                </c:pt>
                <c:pt idx="3303">
                  <c:v>84.78</c:v>
                </c:pt>
                <c:pt idx="3304">
                  <c:v>85.9</c:v>
                </c:pt>
                <c:pt idx="3305">
                  <c:v>86.02</c:v>
                </c:pt>
                <c:pt idx="3306">
                  <c:v>88.56</c:v>
                </c:pt>
                <c:pt idx="3307">
                  <c:v>89.37</c:v>
                </c:pt>
                <c:pt idx="3308">
                  <c:v>90.65</c:v>
                </c:pt>
                <c:pt idx="3309">
                  <c:v>91.25</c:v>
                </c:pt>
                <c:pt idx="3310">
                  <c:v>90.78</c:v>
                </c:pt>
                <c:pt idx="3311">
                  <c:v>89.74</c:v>
                </c:pt>
                <c:pt idx="3312">
                  <c:v>89.93</c:v>
                </c:pt>
                <c:pt idx="3313">
                  <c:v>89.54</c:v>
                </c:pt>
                <c:pt idx="3314">
                  <c:v>90.4</c:v>
                </c:pt>
                <c:pt idx="3315">
                  <c:v>90.63</c:v>
                </c:pt>
                <c:pt idx="3316">
                  <c:v>91.33</c:v>
                </c:pt>
                <c:pt idx="3317">
                  <c:v>91.09</c:v>
                </c:pt>
                <c:pt idx="3318">
                  <c:v>91.11</c:v>
                </c:pt>
                <c:pt idx="3319">
                  <c:v>91.31</c:v>
                </c:pt>
                <c:pt idx="3320">
                  <c:v>93.11</c:v>
                </c:pt>
                <c:pt idx="3321">
                  <c:v>93.55</c:v>
                </c:pt>
                <c:pt idx="3322">
                  <c:v>93.63</c:v>
                </c:pt>
                <c:pt idx="3323">
                  <c:v>93.08</c:v>
                </c:pt>
                <c:pt idx="3324">
                  <c:v>93.52</c:v>
                </c:pt>
                <c:pt idx="3325">
                  <c:v>93.52</c:v>
                </c:pt>
                <c:pt idx="3326">
                  <c:v>92.5</c:v>
                </c:pt>
                <c:pt idx="3327">
                  <c:v>93.23</c:v>
                </c:pt>
                <c:pt idx="3328">
                  <c:v>95.82</c:v>
                </c:pt>
                <c:pt idx="3329">
                  <c:v>93.52</c:v>
                </c:pt>
                <c:pt idx="3330">
                  <c:v>95.07</c:v>
                </c:pt>
                <c:pt idx="3331">
                  <c:v>94.95</c:v>
                </c:pt>
                <c:pt idx="3332">
                  <c:v>94.25</c:v>
                </c:pt>
                <c:pt idx="3333">
                  <c:v>95.05</c:v>
                </c:pt>
                <c:pt idx="3334">
                  <c:v>96.8</c:v>
                </c:pt>
                <c:pt idx="3335">
                  <c:v>97.86</c:v>
                </c:pt>
                <c:pt idx="3336">
                  <c:v>97.86</c:v>
                </c:pt>
                <c:pt idx="3337">
                  <c:v>97.86</c:v>
                </c:pt>
                <c:pt idx="3338">
                  <c:v>97.83</c:v>
                </c:pt>
                <c:pt idx="3339">
                  <c:v>98.42</c:v>
                </c:pt>
                <c:pt idx="3340">
                  <c:v>96.27</c:v>
                </c:pt>
                <c:pt idx="3341">
                  <c:v>96.84</c:v>
                </c:pt>
                <c:pt idx="3342">
                  <c:v>96.76</c:v>
                </c:pt>
                <c:pt idx="3343">
                  <c:v>96.76</c:v>
                </c:pt>
                <c:pt idx="3344">
                  <c:v>96.04</c:v>
                </c:pt>
                <c:pt idx="3345">
                  <c:v>96.48</c:v>
                </c:pt>
                <c:pt idx="3346">
                  <c:v>97.06</c:v>
                </c:pt>
                <c:pt idx="3347">
                  <c:v>98.97</c:v>
                </c:pt>
                <c:pt idx="3348">
                  <c:v>100.4</c:v>
                </c:pt>
                <c:pt idx="3349">
                  <c:v>101.3</c:v>
                </c:pt>
                <c:pt idx="3350">
                  <c:v>101.69</c:v>
                </c:pt>
                <c:pt idx="3351">
                  <c:v>99.43</c:v>
                </c:pt>
                <c:pt idx="3352">
                  <c:v>99.44</c:v>
                </c:pt>
                <c:pt idx="3353">
                  <c:v>99.25</c:v>
                </c:pt>
                <c:pt idx="3354">
                  <c:v>100.16</c:v>
                </c:pt>
                <c:pt idx="3355">
                  <c:v>100.74</c:v>
                </c:pt>
                <c:pt idx="3356">
                  <c:v>99.93</c:v>
                </c:pt>
                <c:pt idx="3357">
                  <c:v>103.12</c:v>
                </c:pt>
                <c:pt idx="3358">
                  <c:v>102.48</c:v>
                </c:pt>
                <c:pt idx="3359">
                  <c:v>102.78</c:v>
                </c:pt>
                <c:pt idx="3360">
                  <c:v>103.45</c:v>
                </c:pt>
                <c:pt idx="3361">
                  <c:v>102.2</c:v>
                </c:pt>
                <c:pt idx="3362">
                  <c:v>106.82</c:v>
                </c:pt>
                <c:pt idx="3363">
                  <c:v>109.77</c:v>
                </c:pt>
                <c:pt idx="3364">
                  <c:v>113.91</c:v>
                </c:pt>
                <c:pt idx="3365">
                  <c:v>111.47</c:v>
                </c:pt>
                <c:pt idx="3366">
                  <c:v>112.27</c:v>
                </c:pt>
                <c:pt idx="3367">
                  <c:v>113.34</c:v>
                </c:pt>
                <c:pt idx="3368">
                  <c:v>116.89</c:v>
                </c:pt>
                <c:pt idx="3369">
                  <c:v>114.42</c:v>
                </c:pt>
                <c:pt idx="3370">
                  <c:v>115.71</c:v>
                </c:pt>
                <c:pt idx="3371">
                  <c:v>116.58</c:v>
                </c:pt>
                <c:pt idx="3372">
                  <c:v>112.32</c:v>
                </c:pt>
                <c:pt idx="3373">
                  <c:v>115.19</c:v>
                </c:pt>
                <c:pt idx="3374">
                  <c:v>114.07</c:v>
                </c:pt>
                <c:pt idx="3375">
                  <c:v>114.07</c:v>
                </c:pt>
                <c:pt idx="3376">
                  <c:v>112.95</c:v>
                </c:pt>
                <c:pt idx="3377">
                  <c:v>111.11</c:v>
                </c:pt>
                <c:pt idx="3378">
                  <c:v>110.96</c:v>
                </c:pt>
                <c:pt idx="3379">
                  <c:v>114.18</c:v>
                </c:pt>
                <c:pt idx="3380">
                  <c:v>114.13</c:v>
                </c:pt>
                <c:pt idx="3381">
                  <c:v>114.92</c:v>
                </c:pt>
                <c:pt idx="3382">
                  <c:v>115.63</c:v>
                </c:pt>
                <c:pt idx="3383">
                  <c:v>115.65</c:v>
                </c:pt>
                <c:pt idx="3384">
                  <c:v>115.41</c:v>
                </c:pt>
                <c:pt idx="3385">
                  <c:v>115.45</c:v>
                </c:pt>
                <c:pt idx="3386">
                  <c:v>115.95</c:v>
                </c:pt>
                <c:pt idx="3387">
                  <c:v>115.58</c:v>
                </c:pt>
                <c:pt idx="3388">
                  <c:v>115.35</c:v>
                </c:pt>
                <c:pt idx="3389">
                  <c:v>116.94</c:v>
                </c:pt>
                <c:pt idx="3390">
                  <c:v>118.63</c:v>
                </c:pt>
                <c:pt idx="3391">
                  <c:v>120.07</c:v>
                </c:pt>
                <c:pt idx="3392">
                  <c:v>122.87</c:v>
                </c:pt>
                <c:pt idx="3393">
                  <c:v>123.01</c:v>
                </c:pt>
                <c:pt idx="3394">
                  <c:v>122.9</c:v>
                </c:pt>
                <c:pt idx="3395">
                  <c:v>126.3</c:v>
                </c:pt>
                <c:pt idx="3396">
                  <c:v>126.46</c:v>
                </c:pt>
                <c:pt idx="3397">
                  <c:v>121.33</c:v>
                </c:pt>
                <c:pt idx="3398">
                  <c:v>122.7</c:v>
                </c:pt>
                <c:pt idx="3399">
                  <c:v>122.74</c:v>
                </c:pt>
                <c:pt idx="3400">
                  <c:v>124.63</c:v>
                </c:pt>
                <c:pt idx="3401">
                  <c:v>121.69</c:v>
                </c:pt>
                <c:pt idx="3402">
                  <c:v>121.35</c:v>
                </c:pt>
                <c:pt idx="3403">
                  <c:v>124.26</c:v>
                </c:pt>
                <c:pt idx="3404">
                  <c:v>123.64</c:v>
                </c:pt>
                <c:pt idx="3406">
                  <c:v>124.55</c:v>
                </c:pt>
                <c:pt idx="3407">
                  <c:v>124.94</c:v>
                </c:pt>
                <c:pt idx="3408">
                  <c:v>126.59</c:v>
                </c:pt>
                <c:pt idx="3410">
                  <c:v>126.64</c:v>
                </c:pt>
                <c:pt idx="3411">
                  <c:v>124.01</c:v>
                </c:pt>
                <c:pt idx="3412">
                  <c:v>121.55</c:v>
                </c:pt>
                <c:pt idx="3413">
                  <c:v>111.93</c:v>
                </c:pt>
                <c:pt idx="3414">
                  <c:v>113.69</c:v>
                </c:pt>
                <c:pt idx="3415">
                  <c:v>113.21</c:v>
                </c:pt>
                <c:pt idx="3416">
                  <c:v>117.82</c:v>
                </c:pt>
                <c:pt idx="3417">
                  <c:v>115.66</c:v>
                </c:pt>
                <c:pt idx="3418">
                  <c:v>112.87</c:v>
                </c:pt>
                <c:pt idx="3419">
                  <c:v>113.08</c:v>
                </c:pt>
                <c:pt idx="3420">
                  <c:v>113.72</c:v>
                </c:pt>
                <c:pt idx="3421">
                  <c:v>109.39</c:v>
                </c:pt>
                <c:pt idx="3422">
                  <c:v>112.54</c:v>
                </c:pt>
                <c:pt idx="3423">
                  <c:v>113.2</c:v>
                </c:pt>
                <c:pt idx="3424">
                  <c:v>111.25</c:v>
                </c:pt>
                <c:pt idx="3425">
                  <c:v>110.13</c:v>
                </c:pt>
                <c:pt idx="3426">
                  <c:v>112.52</c:v>
                </c:pt>
                <c:pt idx="3427">
                  <c:v>114.47</c:v>
                </c:pt>
                <c:pt idx="3428">
                  <c:v>115.06</c:v>
                </c:pt>
                <c:pt idx="3429">
                  <c:v>114.85</c:v>
                </c:pt>
                <c:pt idx="3430">
                  <c:v>117.18</c:v>
                </c:pt>
                <c:pt idx="3431">
                  <c:v>116.15</c:v>
                </c:pt>
                <c:pt idx="3432">
                  <c:v>114.3</c:v>
                </c:pt>
                <c:pt idx="3433">
                  <c:v>115.09</c:v>
                </c:pt>
                <c:pt idx="3434">
                  <c:v>115.4</c:v>
                </c:pt>
                <c:pt idx="3435">
                  <c:v>116.14</c:v>
                </c:pt>
                <c:pt idx="3436">
                  <c:v>118.43</c:v>
                </c:pt>
                <c:pt idx="3437">
                  <c:v>119.95</c:v>
                </c:pt>
                <c:pt idx="3438">
                  <c:v>118.71</c:v>
                </c:pt>
                <c:pt idx="3439">
                  <c:v>120.49</c:v>
                </c:pt>
                <c:pt idx="3440">
                  <c:v>120.35</c:v>
                </c:pt>
                <c:pt idx="3441">
                  <c:v>114.67</c:v>
                </c:pt>
                <c:pt idx="3442">
                  <c:v>114.69</c:v>
                </c:pt>
                <c:pt idx="3443">
                  <c:v>113.74</c:v>
                </c:pt>
                <c:pt idx="3444">
                  <c:v>112.21</c:v>
                </c:pt>
                <c:pt idx="3445">
                  <c:v>112.02</c:v>
                </c:pt>
                <c:pt idx="3446">
                  <c:v>113.59</c:v>
                </c:pt>
                <c:pt idx="3447">
                  <c:v>108.27</c:v>
                </c:pt>
                <c:pt idx="3448">
                  <c:v>104.79</c:v>
                </c:pt>
                <c:pt idx="3449">
                  <c:v>104.57</c:v>
                </c:pt>
                <c:pt idx="3450">
                  <c:v>107.57</c:v>
                </c:pt>
                <c:pt idx="3451">
                  <c:v>111.49</c:v>
                </c:pt>
                <c:pt idx="3452">
                  <c:v>111.71</c:v>
                </c:pt>
                <c:pt idx="3453">
                  <c:v>109.82</c:v>
                </c:pt>
                <c:pt idx="3454">
                  <c:v>113.21</c:v>
                </c:pt>
                <c:pt idx="3455">
                  <c:v>113.55</c:v>
                </c:pt>
                <c:pt idx="3456">
                  <c:v>117.4</c:v>
                </c:pt>
                <c:pt idx="3457">
                  <c:v>117.4</c:v>
                </c:pt>
                <c:pt idx="3458">
                  <c:v>117.35</c:v>
                </c:pt>
                <c:pt idx="3459">
                  <c:v>117.36</c:v>
                </c:pt>
                <c:pt idx="3460">
                  <c:v>118.46</c:v>
                </c:pt>
                <c:pt idx="3461">
                  <c:v>117.38</c:v>
                </c:pt>
                <c:pt idx="3462">
                  <c:v>118.06</c:v>
                </c:pt>
                <c:pt idx="3463">
                  <c:v>117.05</c:v>
                </c:pt>
                <c:pt idx="3464">
                  <c:v>118.18</c:v>
                </c:pt>
                <c:pt idx="3465">
                  <c:v>118.52</c:v>
                </c:pt>
                <c:pt idx="3466">
                  <c:v>118.25</c:v>
                </c:pt>
                <c:pt idx="3467">
                  <c:v>118.99</c:v>
                </c:pt>
                <c:pt idx="3468">
                  <c:v>118.27</c:v>
                </c:pt>
                <c:pt idx="3469">
                  <c:v>118.14</c:v>
                </c:pt>
                <c:pt idx="3470">
                  <c:v>117.99</c:v>
                </c:pt>
                <c:pt idx="3471">
                  <c:v>118.16</c:v>
                </c:pt>
                <c:pt idx="3472">
                  <c:v>115.93</c:v>
                </c:pt>
                <c:pt idx="3473">
                  <c:v>116.37</c:v>
                </c:pt>
                <c:pt idx="3474">
                  <c:v>116.02</c:v>
                </c:pt>
                <c:pt idx="3475">
                  <c:v>113.74</c:v>
                </c:pt>
                <c:pt idx="3476">
                  <c:v>110.22</c:v>
                </c:pt>
                <c:pt idx="3477">
                  <c:v>106.92</c:v>
                </c:pt>
                <c:pt idx="3478">
                  <c:v>103.06</c:v>
                </c:pt>
                <c:pt idx="3479">
                  <c:v>103.63</c:v>
                </c:pt>
                <c:pt idx="3480">
                  <c:v>103.84</c:v>
                </c:pt>
                <c:pt idx="3481">
                  <c:v>107.82</c:v>
                </c:pt>
                <c:pt idx="3482">
                  <c:v>108.17</c:v>
                </c:pt>
                <c:pt idx="3483">
                  <c:v>108.89</c:v>
                </c:pt>
                <c:pt idx="3484">
                  <c:v>109.69</c:v>
                </c:pt>
                <c:pt idx="3485">
                  <c:v>111.37</c:v>
                </c:pt>
                <c:pt idx="3486">
                  <c:v>108.36</c:v>
                </c:pt>
                <c:pt idx="3487">
                  <c:v>109.37</c:v>
                </c:pt>
                <c:pt idx="3488">
                  <c:v>108.83</c:v>
                </c:pt>
                <c:pt idx="3489">
                  <c:v>110.35</c:v>
                </c:pt>
                <c:pt idx="3490">
                  <c:v>111.91</c:v>
                </c:pt>
                <c:pt idx="3491">
                  <c:v>111.91</c:v>
                </c:pt>
                <c:pt idx="3492">
                  <c:v>112.29</c:v>
                </c:pt>
                <c:pt idx="3494">
                  <c:v>115.59</c:v>
                </c:pt>
                <c:pt idx="3495">
                  <c:v>116.48</c:v>
                </c:pt>
                <c:pt idx="3496">
                  <c:v>116.43</c:v>
                </c:pt>
                <c:pt idx="3497">
                  <c:v>115.92</c:v>
                </c:pt>
                <c:pt idx="3498">
                  <c:v>113.29</c:v>
                </c:pt>
                <c:pt idx="3499">
                  <c:v>117.5</c:v>
                </c:pt>
                <c:pt idx="3500">
                  <c:v>117.99</c:v>
                </c:pt>
                <c:pt idx="3501">
                  <c:v>115.1</c:v>
                </c:pt>
                <c:pt idx="3502">
                  <c:v>114.75</c:v>
                </c:pt>
                <c:pt idx="3503">
                  <c:v>114.08</c:v>
                </c:pt>
                <c:pt idx="3504">
                  <c:v>113.1</c:v>
                </c:pt>
                <c:pt idx="3505">
                  <c:v>116.71</c:v>
                </c:pt>
                <c:pt idx="3506">
                  <c:v>116.26</c:v>
                </c:pt>
                <c:pt idx="3507">
                  <c:v>112.89</c:v>
                </c:pt>
                <c:pt idx="3508">
                  <c:v>114.39</c:v>
                </c:pt>
                <c:pt idx="3509">
                  <c:v>114.26</c:v>
                </c:pt>
                <c:pt idx="3510">
                  <c:v>109.21</c:v>
                </c:pt>
                <c:pt idx="3511">
                  <c:v>109.17</c:v>
                </c:pt>
                <c:pt idx="3512">
                  <c:v>107.9</c:v>
                </c:pt>
                <c:pt idx="3513">
                  <c:v>109.54</c:v>
                </c:pt>
                <c:pt idx="3514">
                  <c:v>108.52</c:v>
                </c:pt>
                <c:pt idx="3515">
                  <c:v>107.08</c:v>
                </c:pt>
                <c:pt idx="3516">
                  <c:v>105.42</c:v>
                </c:pt>
                <c:pt idx="3517">
                  <c:v>103.61</c:v>
                </c:pt>
                <c:pt idx="3518">
                  <c:v>101.84</c:v>
                </c:pt>
                <c:pt idx="3519">
                  <c:v>103.77</c:v>
                </c:pt>
                <c:pt idx="3520">
                  <c:v>104.38</c:v>
                </c:pt>
                <c:pt idx="3521">
                  <c:v>106.56</c:v>
                </c:pt>
                <c:pt idx="3522">
                  <c:v>109.49</c:v>
                </c:pt>
                <c:pt idx="3523">
                  <c:v>109.22</c:v>
                </c:pt>
                <c:pt idx="3524">
                  <c:v>112.44</c:v>
                </c:pt>
                <c:pt idx="3525">
                  <c:v>112.45</c:v>
                </c:pt>
                <c:pt idx="3526">
                  <c:v>114.33</c:v>
                </c:pt>
                <c:pt idx="3527">
                  <c:v>112.92</c:v>
                </c:pt>
                <c:pt idx="3528">
                  <c:v>112.08</c:v>
                </c:pt>
                <c:pt idx="3529">
                  <c:v>111.76</c:v>
                </c:pt>
                <c:pt idx="3530">
                  <c:v>109</c:v>
                </c:pt>
                <c:pt idx="3531">
                  <c:v>111.6</c:v>
                </c:pt>
                <c:pt idx="3532">
                  <c:v>111.67</c:v>
                </c:pt>
                <c:pt idx="3533">
                  <c:v>112.11</c:v>
                </c:pt>
                <c:pt idx="3534">
                  <c:v>110.43</c:v>
                </c:pt>
                <c:pt idx="3535">
                  <c:v>112.45</c:v>
                </c:pt>
                <c:pt idx="3536">
                  <c:v>110.01</c:v>
                </c:pt>
                <c:pt idx="3537">
                  <c:v>108.43</c:v>
                </c:pt>
                <c:pt idx="3538">
                  <c:v>106.97</c:v>
                </c:pt>
                <c:pt idx="3539">
                  <c:v>110.82</c:v>
                </c:pt>
                <c:pt idx="3540">
                  <c:v>110.76</c:v>
                </c:pt>
                <c:pt idx="3541">
                  <c:v>112.22</c:v>
                </c:pt>
                <c:pt idx="3542">
                  <c:v>114.75</c:v>
                </c:pt>
                <c:pt idx="3543">
                  <c:v>115.61</c:v>
                </c:pt>
                <c:pt idx="3544">
                  <c:v>115.29</c:v>
                </c:pt>
                <c:pt idx="3545">
                  <c:v>113.32</c:v>
                </c:pt>
                <c:pt idx="3546">
                  <c:v>114.43</c:v>
                </c:pt>
                <c:pt idx="3547">
                  <c:v>112.57</c:v>
                </c:pt>
                <c:pt idx="3548">
                  <c:v>111.9</c:v>
                </c:pt>
                <c:pt idx="3549">
                  <c:v>111.91</c:v>
                </c:pt>
                <c:pt idx="3550">
                  <c:v>109.25</c:v>
                </c:pt>
                <c:pt idx="3551">
                  <c:v>107.82</c:v>
                </c:pt>
                <c:pt idx="3552">
                  <c:v>105.98</c:v>
                </c:pt>
                <c:pt idx="3553">
                  <c:v>107.77</c:v>
                </c:pt>
                <c:pt idx="3554">
                  <c:v>106.83</c:v>
                </c:pt>
                <c:pt idx="3555">
                  <c:v>106.08</c:v>
                </c:pt>
                <c:pt idx="3556">
                  <c:v>109.38</c:v>
                </c:pt>
                <c:pt idx="3557">
                  <c:v>111.25</c:v>
                </c:pt>
                <c:pt idx="3558">
                  <c:v>111.22</c:v>
                </c:pt>
                <c:pt idx="3559">
                  <c:v>108.83</c:v>
                </c:pt>
                <c:pt idx="3560">
                  <c:v>109.59</c:v>
                </c:pt>
                <c:pt idx="3561">
                  <c:v>110.18</c:v>
                </c:pt>
                <c:pt idx="3562">
                  <c:v>110.16</c:v>
                </c:pt>
                <c:pt idx="3563">
                  <c:v>110.07</c:v>
                </c:pt>
                <c:pt idx="3564">
                  <c:v>108.23</c:v>
                </c:pt>
                <c:pt idx="3565">
                  <c:v>107.91</c:v>
                </c:pt>
                <c:pt idx="3566">
                  <c:v>107.82</c:v>
                </c:pt>
                <c:pt idx="3567">
                  <c:v>109.25</c:v>
                </c:pt>
                <c:pt idx="3568">
                  <c:v>105.72</c:v>
                </c:pt>
                <c:pt idx="3569">
                  <c:v>104.52</c:v>
                </c:pt>
                <c:pt idx="3570">
                  <c:v>104</c:v>
                </c:pt>
                <c:pt idx="3571">
                  <c:v>104.55</c:v>
                </c:pt>
                <c:pt idx="3572">
                  <c:v>107.8</c:v>
                </c:pt>
                <c:pt idx="3573">
                  <c:v>108</c:v>
                </c:pt>
                <c:pt idx="3574">
                  <c:v>108.98</c:v>
                </c:pt>
                <c:pt idx="3575">
                  <c:v>109.28</c:v>
                </c:pt>
                <c:pt idx="3577">
                  <c:v>107.54</c:v>
                </c:pt>
                <c:pt idx="3578">
                  <c:v>106.89</c:v>
                </c:pt>
                <c:pt idx="3579">
                  <c:v>108.09</c:v>
                </c:pt>
                <c:pt idx="3580">
                  <c:v>111.12</c:v>
                </c:pt>
                <c:pt idx="3581">
                  <c:v>113.37</c:v>
                </c:pt>
                <c:pt idx="3582">
                  <c:v>113.59</c:v>
                </c:pt>
                <c:pt idx="3583">
                  <c:v>111.96</c:v>
                </c:pt>
                <c:pt idx="3584">
                  <c:v>111.07</c:v>
                </c:pt>
                <c:pt idx="3585">
                  <c:v>113.3</c:v>
                </c:pt>
                <c:pt idx="3586">
                  <c:v>111.66</c:v>
                </c:pt>
                <c:pt idx="3587">
                  <c:v>112.97</c:v>
                </c:pt>
                <c:pt idx="3588">
                  <c:v>109.88</c:v>
                </c:pt>
                <c:pt idx="3589">
                  <c:v>110.55</c:v>
                </c:pt>
                <c:pt idx="3590">
                  <c:v>109.81</c:v>
                </c:pt>
                <c:pt idx="3591">
                  <c:v>109.54</c:v>
                </c:pt>
                <c:pt idx="3592">
                  <c:v>108.5</c:v>
                </c:pt>
                <c:pt idx="3593">
                  <c:v>109.46</c:v>
                </c:pt>
                <c:pt idx="3594">
                  <c:v>108.38</c:v>
                </c:pt>
                <c:pt idx="3595">
                  <c:v>108.48</c:v>
                </c:pt>
                <c:pt idx="3596">
                  <c:v>109.08</c:v>
                </c:pt>
                <c:pt idx="3597">
                  <c:v>110.5</c:v>
                </c:pt>
                <c:pt idx="3598">
                  <c:v>110.24</c:v>
                </c:pt>
                <c:pt idx="3599">
                  <c:v>110.26</c:v>
                </c:pt>
                <c:pt idx="3600">
                  <c:v>111.96</c:v>
                </c:pt>
                <c:pt idx="3601">
                  <c:v>110.96</c:v>
                </c:pt>
                <c:pt idx="3602">
                  <c:v>112.56</c:v>
                </c:pt>
                <c:pt idx="3603">
                  <c:v>115.47</c:v>
                </c:pt>
                <c:pt idx="3604">
                  <c:v>116.86</c:v>
                </c:pt>
                <c:pt idx="3605">
                  <c:v>117.18</c:v>
                </c:pt>
                <c:pt idx="3606">
                  <c:v>118.4</c:v>
                </c:pt>
                <c:pt idx="3607">
                  <c:v>118.13</c:v>
                </c:pt>
                <c:pt idx="3608">
                  <c:v>118.73</c:v>
                </c:pt>
                <c:pt idx="3609">
                  <c:v>118.3</c:v>
                </c:pt>
                <c:pt idx="3610">
                  <c:v>120.25</c:v>
                </c:pt>
                <c:pt idx="3611">
                  <c:v>121</c:v>
                </c:pt>
                <c:pt idx="3612">
                  <c:v>120.69</c:v>
                </c:pt>
                <c:pt idx="3613">
                  <c:v>120.85</c:v>
                </c:pt>
                <c:pt idx="3614">
                  <c:v>123.07</c:v>
                </c:pt>
                <c:pt idx="3615">
                  <c:v>124.53</c:v>
                </c:pt>
                <c:pt idx="3616">
                  <c:v>124.89</c:v>
                </c:pt>
                <c:pt idx="3617">
                  <c:v>126.46</c:v>
                </c:pt>
                <c:pt idx="3618">
                  <c:v>124.02</c:v>
                </c:pt>
                <c:pt idx="3619">
                  <c:v>122.23</c:v>
                </c:pt>
                <c:pt idx="3620">
                  <c:v>125.76</c:v>
                </c:pt>
                <c:pt idx="3621">
                  <c:v>125.93</c:v>
                </c:pt>
                <c:pt idx="3622">
                  <c:v>126.68</c:v>
                </c:pt>
                <c:pt idx="3623">
                  <c:v>125.03</c:v>
                </c:pt>
                <c:pt idx="3624">
                  <c:v>125.37</c:v>
                </c:pt>
                <c:pt idx="3625">
                  <c:v>127.96</c:v>
                </c:pt>
                <c:pt idx="3626">
                  <c:v>128.08000000000001</c:v>
                </c:pt>
                <c:pt idx="3627">
                  <c:v>127.27</c:v>
                </c:pt>
                <c:pt idx="3628">
                  <c:v>128.13999999999999</c:v>
                </c:pt>
                <c:pt idx="3629">
                  <c:v>126.98</c:v>
                </c:pt>
                <c:pt idx="3630">
                  <c:v>123.63</c:v>
                </c:pt>
                <c:pt idx="3631">
                  <c:v>125.09</c:v>
                </c:pt>
                <c:pt idx="3632">
                  <c:v>125.76</c:v>
                </c:pt>
                <c:pt idx="3633">
                  <c:v>124.38</c:v>
                </c:pt>
                <c:pt idx="3634">
                  <c:v>123.89</c:v>
                </c:pt>
                <c:pt idx="3635">
                  <c:v>122.49</c:v>
                </c:pt>
                <c:pt idx="3636">
                  <c:v>125.21</c:v>
                </c:pt>
                <c:pt idx="3637">
                  <c:v>125.85</c:v>
                </c:pt>
                <c:pt idx="3638">
                  <c:v>125.25</c:v>
                </c:pt>
                <c:pt idx="3639">
                  <c:v>124.41</c:v>
                </c:pt>
                <c:pt idx="3640">
                  <c:v>123.23</c:v>
                </c:pt>
                <c:pt idx="3641">
                  <c:v>123.41</c:v>
                </c:pt>
                <c:pt idx="3642">
                  <c:v>124.44</c:v>
                </c:pt>
                <c:pt idx="3644">
                  <c:v>123.04</c:v>
                </c:pt>
                <c:pt idx="3645">
                  <c:v>123.58</c:v>
                </c:pt>
                <c:pt idx="3647">
                  <c:v>121.89</c:v>
                </c:pt>
                <c:pt idx="3648">
                  <c:v>120.41</c:v>
                </c:pt>
                <c:pt idx="3649">
                  <c:v>120.57</c:v>
                </c:pt>
                <c:pt idx="3650">
                  <c:v>120.62</c:v>
                </c:pt>
                <c:pt idx="3651">
                  <c:v>118.23</c:v>
                </c:pt>
                <c:pt idx="3652">
                  <c:v>117.41</c:v>
                </c:pt>
                <c:pt idx="3653">
                  <c:v>115.18</c:v>
                </c:pt>
                <c:pt idx="3654">
                  <c:v>117</c:v>
                </c:pt>
                <c:pt idx="3655">
                  <c:v>118.08</c:v>
                </c:pt>
                <c:pt idx="3656">
                  <c:v>116.66</c:v>
                </c:pt>
                <c:pt idx="3657">
                  <c:v>117.74</c:v>
                </c:pt>
                <c:pt idx="3658">
                  <c:v>117.45</c:v>
                </c:pt>
                <c:pt idx="3659">
                  <c:v>119.33</c:v>
                </c:pt>
                <c:pt idx="3660">
                  <c:v>119.3</c:v>
                </c:pt>
                <c:pt idx="3661">
                  <c:v>118.66</c:v>
                </c:pt>
                <c:pt idx="3662">
                  <c:v>119.57</c:v>
                </c:pt>
                <c:pt idx="3663">
                  <c:v>117.57</c:v>
                </c:pt>
                <c:pt idx="3664">
                  <c:v>115.91</c:v>
                </c:pt>
                <c:pt idx="3665">
                  <c:v>111.66</c:v>
                </c:pt>
                <c:pt idx="3667">
                  <c:v>110.48</c:v>
                </c:pt>
                <c:pt idx="3668">
                  <c:v>111.89</c:v>
                </c:pt>
                <c:pt idx="3669">
                  <c:v>112.24</c:v>
                </c:pt>
                <c:pt idx="3670">
                  <c:v>112.5</c:v>
                </c:pt>
                <c:pt idx="3671">
                  <c:v>110.79</c:v>
                </c:pt>
                <c:pt idx="3672">
                  <c:v>111.4</c:v>
                </c:pt>
                <c:pt idx="3673">
                  <c:v>109.8</c:v>
                </c:pt>
                <c:pt idx="3674">
                  <c:v>109.31</c:v>
                </c:pt>
                <c:pt idx="3675">
                  <c:v>108.03</c:v>
                </c:pt>
                <c:pt idx="3676">
                  <c:v>109.02</c:v>
                </c:pt>
                <c:pt idx="3677">
                  <c:v>109.76</c:v>
                </c:pt>
                <c:pt idx="3678">
                  <c:v>106.88</c:v>
                </c:pt>
                <c:pt idx="3679">
                  <c:v>107.2</c:v>
                </c:pt>
                <c:pt idx="3680">
                  <c:v>107.86</c:v>
                </c:pt>
                <c:pt idx="3681">
                  <c:v>107.55</c:v>
                </c:pt>
                <c:pt idx="3682">
                  <c:v>103.85</c:v>
                </c:pt>
                <c:pt idx="3683">
                  <c:v>103.86</c:v>
                </c:pt>
                <c:pt idx="3684">
                  <c:v>98.63</c:v>
                </c:pt>
                <c:pt idx="3685">
                  <c:v>97.74</c:v>
                </c:pt>
                <c:pt idx="3686">
                  <c:v>98.65</c:v>
                </c:pt>
                <c:pt idx="3687">
                  <c:v>101.14</c:v>
                </c:pt>
                <c:pt idx="3688">
                  <c:v>100.05</c:v>
                </c:pt>
                <c:pt idx="3689">
                  <c:v>97.57</c:v>
                </c:pt>
                <c:pt idx="3690">
                  <c:v>98.6</c:v>
                </c:pt>
                <c:pt idx="3691">
                  <c:v>96.59</c:v>
                </c:pt>
                <c:pt idx="3692">
                  <c:v>97.29</c:v>
                </c:pt>
                <c:pt idx="3693">
                  <c:v>96.46</c:v>
                </c:pt>
                <c:pt idx="3694">
                  <c:v>97.13</c:v>
                </c:pt>
                <c:pt idx="3695">
                  <c:v>95.21</c:v>
                </c:pt>
                <c:pt idx="3696">
                  <c:v>95.14</c:v>
                </c:pt>
                <c:pt idx="3697">
                  <c:v>93.5</c:v>
                </c:pt>
                <c:pt idx="3698">
                  <c:v>89.22</c:v>
                </c:pt>
                <c:pt idx="3699">
                  <c:v>89.22</c:v>
                </c:pt>
                <c:pt idx="3700">
                  <c:v>88.69</c:v>
                </c:pt>
                <c:pt idx="3701">
                  <c:v>90.19</c:v>
                </c:pt>
                <c:pt idx="3702">
                  <c:v>92.06</c:v>
                </c:pt>
                <c:pt idx="3703">
                  <c:v>91.02</c:v>
                </c:pt>
                <c:pt idx="3704">
                  <c:v>94.17</c:v>
                </c:pt>
                <c:pt idx="3705">
                  <c:v>95.28</c:v>
                </c:pt>
                <c:pt idx="3706">
                  <c:v>99.89</c:v>
                </c:pt>
                <c:pt idx="3707">
                  <c:v>101.54</c:v>
                </c:pt>
                <c:pt idx="3708">
                  <c:v>98.5</c:v>
                </c:pt>
                <c:pt idx="3709">
                  <c:v>99.94</c:v>
                </c:pt>
                <c:pt idx="3710">
                  <c:v>99.15</c:v>
                </c:pt>
                <c:pt idx="3711">
                  <c:v>99.23</c:v>
                </c:pt>
                <c:pt idx="3712">
                  <c:v>99.18</c:v>
                </c:pt>
                <c:pt idx="3713">
                  <c:v>101.91</c:v>
                </c:pt>
                <c:pt idx="3714">
                  <c:v>102.1</c:v>
                </c:pt>
                <c:pt idx="3715">
                  <c:v>104.21</c:v>
                </c:pt>
                <c:pt idx="3716">
                  <c:v>105.92</c:v>
                </c:pt>
                <c:pt idx="3717">
                  <c:v>107.79</c:v>
                </c:pt>
                <c:pt idx="3718">
                  <c:v>106.98</c:v>
                </c:pt>
                <c:pt idx="3719">
                  <c:v>103.91</c:v>
                </c:pt>
                <c:pt idx="3720">
                  <c:v>103.57</c:v>
                </c:pt>
                <c:pt idx="3721">
                  <c:v>102.35</c:v>
                </c:pt>
                <c:pt idx="3722">
                  <c:v>104.77</c:v>
                </c:pt>
                <c:pt idx="3723">
                  <c:v>106.3</c:v>
                </c:pt>
                <c:pt idx="3724">
                  <c:v>106.54</c:v>
                </c:pt>
                <c:pt idx="3725">
                  <c:v>105.93</c:v>
                </c:pt>
                <c:pt idx="3726">
                  <c:v>106.78</c:v>
                </c:pt>
                <c:pt idx="3727">
                  <c:v>107.55</c:v>
                </c:pt>
                <c:pt idx="3728">
                  <c:v>109.57</c:v>
                </c:pt>
                <c:pt idx="3729">
                  <c:v>110.01</c:v>
                </c:pt>
                <c:pt idx="3730">
                  <c:v>112.39</c:v>
                </c:pt>
                <c:pt idx="3731">
                  <c:v>113.42</c:v>
                </c:pt>
                <c:pt idx="3732">
                  <c:v>113.52</c:v>
                </c:pt>
                <c:pt idx="3733">
                  <c:v>113.13</c:v>
                </c:pt>
                <c:pt idx="3734">
                  <c:v>114.48</c:v>
                </c:pt>
                <c:pt idx="3735">
                  <c:v>113.9</c:v>
                </c:pt>
                <c:pt idx="3736">
                  <c:v>115.51</c:v>
                </c:pt>
                <c:pt idx="3737">
                  <c:v>116.12</c:v>
                </c:pt>
                <c:pt idx="3738">
                  <c:v>115.2</c:v>
                </c:pt>
                <c:pt idx="3739">
                  <c:v>115.5</c:v>
                </c:pt>
                <c:pt idx="3740">
                  <c:v>116.03</c:v>
                </c:pt>
                <c:pt idx="3741">
                  <c:v>115.77</c:v>
                </c:pt>
                <c:pt idx="3742">
                  <c:v>117.45</c:v>
                </c:pt>
                <c:pt idx="3743">
                  <c:v>115.76</c:v>
                </c:pt>
                <c:pt idx="3744">
                  <c:v>113.74</c:v>
                </c:pt>
                <c:pt idx="3745">
                  <c:v>112.62</c:v>
                </c:pt>
                <c:pt idx="3746">
                  <c:v>112.53</c:v>
                </c:pt>
                <c:pt idx="3747">
                  <c:v>112.28</c:v>
                </c:pt>
                <c:pt idx="3748">
                  <c:v>113.93</c:v>
                </c:pt>
                <c:pt idx="3749">
                  <c:v>114.98</c:v>
                </c:pt>
                <c:pt idx="3750">
                  <c:v>113.32</c:v>
                </c:pt>
                <c:pt idx="3751">
                  <c:v>114.5</c:v>
                </c:pt>
                <c:pt idx="3752">
                  <c:v>113.64</c:v>
                </c:pt>
                <c:pt idx="3753">
                  <c:v>113.84</c:v>
                </c:pt>
                <c:pt idx="3754">
                  <c:v>114.86</c:v>
                </c:pt>
                <c:pt idx="3755">
                  <c:v>114.86</c:v>
                </c:pt>
                <c:pt idx="3756">
                  <c:v>116</c:v>
                </c:pt>
                <c:pt idx="3757">
                  <c:v>117.48</c:v>
                </c:pt>
                <c:pt idx="3758">
                  <c:v>116.7</c:v>
                </c:pt>
                <c:pt idx="3759">
                  <c:v>113.29</c:v>
                </c:pt>
                <c:pt idx="3760">
                  <c:v>108.49</c:v>
                </c:pt>
                <c:pt idx="3761">
                  <c:v>109.41</c:v>
                </c:pt>
                <c:pt idx="3762">
                  <c:v>111.27</c:v>
                </c:pt>
                <c:pt idx="3763">
                  <c:v>109.2</c:v>
                </c:pt>
                <c:pt idx="3764">
                  <c:v>110.77</c:v>
                </c:pt>
                <c:pt idx="3765">
                  <c:v>108.99</c:v>
                </c:pt>
                <c:pt idx="3766">
                  <c:v>111.45</c:v>
                </c:pt>
                <c:pt idx="3767">
                  <c:v>111.36</c:v>
                </c:pt>
                <c:pt idx="3768">
                  <c:v>112.58</c:v>
                </c:pt>
                <c:pt idx="3769">
                  <c:v>112.49</c:v>
                </c:pt>
                <c:pt idx="3770">
                  <c:v>109.32</c:v>
                </c:pt>
                <c:pt idx="3771">
                  <c:v>110.48</c:v>
                </c:pt>
                <c:pt idx="3772">
                  <c:v>112.17</c:v>
                </c:pt>
                <c:pt idx="3773">
                  <c:v>112.6</c:v>
                </c:pt>
                <c:pt idx="3774">
                  <c:v>114.32</c:v>
                </c:pt>
                <c:pt idx="3775">
                  <c:v>116.11</c:v>
                </c:pt>
                <c:pt idx="3776">
                  <c:v>116.18</c:v>
                </c:pt>
                <c:pt idx="3777">
                  <c:v>115.17</c:v>
                </c:pt>
                <c:pt idx="3778">
                  <c:v>115</c:v>
                </c:pt>
                <c:pt idx="3779">
                  <c:v>115</c:v>
                </c:pt>
                <c:pt idx="3780">
                  <c:v>113.49</c:v>
                </c:pt>
                <c:pt idx="3781">
                  <c:v>112.58</c:v>
                </c:pt>
                <c:pt idx="3782">
                  <c:v>111.89</c:v>
                </c:pt>
                <c:pt idx="3783">
                  <c:v>109.62</c:v>
                </c:pt>
                <c:pt idx="3784">
                  <c:v>107.53</c:v>
                </c:pt>
                <c:pt idx="3785">
                  <c:v>107.66</c:v>
                </c:pt>
                <c:pt idx="3786">
                  <c:v>107.64</c:v>
                </c:pt>
                <c:pt idx="3787">
                  <c:v>108.9</c:v>
                </c:pt>
                <c:pt idx="3788">
                  <c:v>109.33</c:v>
                </c:pt>
                <c:pt idx="3789">
                  <c:v>109.4</c:v>
                </c:pt>
                <c:pt idx="3790">
                  <c:v>109.89</c:v>
                </c:pt>
                <c:pt idx="3791">
                  <c:v>108.84</c:v>
                </c:pt>
                <c:pt idx="3792">
                  <c:v>106.79</c:v>
                </c:pt>
                <c:pt idx="3793">
                  <c:v>105.59</c:v>
                </c:pt>
                <c:pt idx="3794">
                  <c:v>109.27</c:v>
                </c:pt>
                <c:pt idx="3795">
                  <c:v>108.21</c:v>
                </c:pt>
                <c:pt idx="3796">
                  <c:v>107.23</c:v>
                </c:pt>
                <c:pt idx="3797">
                  <c:v>108.61</c:v>
                </c:pt>
                <c:pt idx="3798">
                  <c:v>110.23</c:v>
                </c:pt>
                <c:pt idx="3799">
                  <c:v>108.82</c:v>
                </c:pt>
                <c:pt idx="3800">
                  <c:v>109.66</c:v>
                </c:pt>
                <c:pt idx="3801">
                  <c:v>110.07</c:v>
                </c:pt>
                <c:pt idx="3802">
                  <c:v>106.81</c:v>
                </c:pt>
                <c:pt idx="3803">
                  <c:v>110.06</c:v>
                </c:pt>
                <c:pt idx="3804">
                  <c:v>110.01</c:v>
                </c:pt>
                <c:pt idx="3805">
                  <c:v>110.81</c:v>
                </c:pt>
                <c:pt idx="3806">
                  <c:v>110.14</c:v>
                </c:pt>
                <c:pt idx="3807">
                  <c:v>110.18</c:v>
                </c:pt>
                <c:pt idx="3808">
                  <c:v>109.33</c:v>
                </c:pt>
                <c:pt idx="3809">
                  <c:v>108.26</c:v>
                </c:pt>
                <c:pt idx="3810">
                  <c:v>110.47</c:v>
                </c:pt>
                <c:pt idx="3811">
                  <c:v>110.84</c:v>
                </c:pt>
                <c:pt idx="3812">
                  <c:v>111.27</c:v>
                </c:pt>
                <c:pt idx="3813">
                  <c:v>109.99</c:v>
                </c:pt>
                <c:pt idx="3814">
                  <c:v>108.96</c:v>
                </c:pt>
                <c:pt idx="3815">
                  <c:v>108.01</c:v>
                </c:pt>
                <c:pt idx="3816">
                  <c:v>107.16</c:v>
                </c:pt>
                <c:pt idx="3817">
                  <c:v>108.25</c:v>
                </c:pt>
                <c:pt idx="3818">
                  <c:v>107.6</c:v>
                </c:pt>
                <c:pt idx="3819">
                  <c:v>110.17</c:v>
                </c:pt>
                <c:pt idx="3820">
                  <c:v>110.18</c:v>
                </c:pt>
                <c:pt idx="3821">
                  <c:v>109.28</c:v>
                </c:pt>
                <c:pt idx="3822">
                  <c:v>109.35</c:v>
                </c:pt>
                <c:pt idx="3823">
                  <c:v>109.96</c:v>
                </c:pt>
                <c:pt idx="3824">
                  <c:v>109.95</c:v>
                </c:pt>
                <c:pt idx="3825">
                  <c:v>110.57</c:v>
                </c:pt>
                <c:pt idx="3826">
                  <c:v>109.13</c:v>
                </c:pt>
                <c:pt idx="3827">
                  <c:v>108.44</c:v>
                </c:pt>
                <c:pt idx="3828">
                  <c:v>110.72</c:v>
                </c:pt>
                <c:pt idx="3829">
                  <c:v>110.04</c:v>
                </c:pt>
                <c:pt idx="3830">
                  <c:v>110.05</c:v>
                </c:pt>
                <c:pt idx="3831">
                  <c:v>110.8</c:v>
                </c:pt>
                <c:pt idx="3832">
                  <c:v>112.98</c:v>
                </c:pt>
                <c:pt idx="3833">
                  <c:v>113.03</c:v>
                </c:pt>
                <c:pt idx="3834">
                  <c:v>112.58</c:v>
                </c:pt>
                <c:pt idx="3835">
                  <c:v>112.49</c:v>
                </c:pt>
                <c:pt idx="3836">
                  <c:v>113.03</c:v>
                </c:pt>
                <c:pt idx="3837">
                  <c:v>113.07</c:v>
                </c:pt>
                <c:pt idx="3838">
                  <c:v>112.97</c:v>
                </c:pt>
                <c:pt idx="3839">
                  <c:v>110.3</c:v>
                </c:pt>
                <c:pt idx="3840">
                  <c:v>111.32</c:v>
                </c:pt>
                <c:pt idx="3841">
                  <c:v>111.72</c:v>
                </c:pt>
                <c:pt idx="3842">
                  <c:v>110.97</c:v>
                </c:pt>
                <c:pt idx="3843">
                  <c:v>111.01</c:v>
                </c:pt>
                <c:pt idx="3844">
                  <c:v>111.71</c:v>
                </c:pt>
                <c:pt idx="3845">
                  <c:v>112.72</c:v>
                </c:pt>
                <c:pt idx="3846">
                  <c:v>113.68</c:v>
                </c:pt>
                <c:pt idx="3847">
                  <c:v>114.59</c:v>
                </c:pt>
                <c:pt idx="3848">
                  <c:v>113.88</c:v>
                </c:pt>
                <c:pt idx="3849">
                  <c:v>113.92</c:v>
                </c:pt>
                <c:pt idx="3850">
                  <c:v>115.22</c:v>
                </c:pt>
                <c:pt idx="3851">
                  <c:v>115.42</c:v>
                </c:pt>
                <c:pt idx="3852">
                  <c:v>115.55</c:v>
                </c:pt>
                <c:pt idx="3853">
                  <c:v>115.55</c:v>
                </c:pt>
                <c:pt idx="3854">
                  <c:v>116.06</c:v>
                </c:pt>
                <c:pt idx="3855">
                  <c:v>117.03</c:v>
                </c:pt>
                <c:pt idx="3856">
                  <c:v>116.61</c:v>
                </c:pt>
                <c:pt idx="3857">
                  <c:v>117.17</c:v>
                </c:pt>
                <c:pt idx="3858">
                  <c:v>118.9</c:v>
                </c:pt>
                <c:pt idx="3859">
                  <c:v>118.29</c:v>
                </c:pt>
                <c:pt idx="3860">
                  <c:v>117.89</c:v>
                </c:pt>
                <c:pt idx="3861">
                  <c:v>118.43</c:v>
                </c:pt>
                <c:pt idx="3862">
                  <c:v>118.48</c:v>
                </c:pt>
                <c:pt idx="3863">
                  <c:v>117.4</c:v>
                </c:pt>
                <c:pt idx="3864">
                  <c:v>117.04</c:v>
                </c:pt>
                <c:pt idx="3865">
                  <c:v>116.23</c:v>
                </c:pt>
                <c:pt idx="3866">
                  <c:v>114.19</c:v>
                </c:pt>
                <c:pt idx="3867">
                  <c:v>113.74</c:v>
                </c:pt>
                <c:pt idx="3868">
                  <c:v>114.55</c:v>
                </c:pt>
                <c:pt idx="3869">
                  <c:v>112.96</c:v>
                </c:pt>
                <c:pt idx="3870">
                  <c:v>112.24</c:v>
                </c:pt>
                <c:pt idx="3871">
                  <c:v>112.2</c:v>
                </c:pt>
                <c:pt idx="3872">
                  <c:v>110.14</c:v>
                </c:pt>
                <c:pt idx="3873">
                  <c:v>109.9</c:v>
                </c:pt>
                <c:pt idx="3874">
                  <c:v>110.42</c:v>
                </c:pt>
                <c:pt idx="3875">
                  <c:v>110.27</c:v>
                </c:pt>
                <c:pt idx="3876">
                  <c:v>110.42</c:v>
                </c:pt>
                <c:pt idx="3877">
                  <c:v>108.91</c:v>
                </c:pt>
                <c:pt idx="3878">
                  <c:v>108.64</c:v>
                </c:pt>
                <c:pt idx="3879">
                  <c:v>108.48</c:v>
                </c:pt>
                <c:pt idx="3880">
                  <c:v>107.51</c:v>
                </c:pt>
                <c:pt idx="3881">
                  <c:v>108.1</c:v>
                </c:pt>
                <c:pt idx="3882">
                  <c:v>109.32</c:v>
                </c:pt>
                <c:pt idx="3883">
                  <c:v>108.54</c:v>
                </c:pt>
                <c:pt idx="3884">
                  <c:v>106.91</c:v>
                </c:pt>
                <c:pt idx="3885">
                  <c:v>108.27</c:v>
                </c:pt>
                <c:pt idx="3886">
                  <c:v>106.41</c:v>
                </c:pt>
                <c:pt idx="3887">
                  <c:v>106.51</c:v>
                </c:pt>
                <c:pt idx="3888">
                  <c:v>106.66</c:v>
                </c:pt>
                <c:pt idx="3889">
                  <c:v>107.1</c:v>
                </c:pt>
                <c:pt idx="3890">
                  <c:v>108.51</c:v>
                </c:pt>
                <c:pt idx="3891">
                  <c:v>108.46</c:v>
                </c:pt>
                <c:pt idx="3892">
                  <c:v>108.76</c:v>
                </c:pt>
                <c:pt idx="3893">
                  <c:v>109.66</c:v>
                </c:pt>
                <c:pt idx="3894">
                  <c:v>107.82</c:v>
                </c:pt>
                <c:pt idx="3895">
                  <c:v>105.09</c:v>
                </c:pt>
                <c:pt idx="3896">
                  <c:v>103.98</c:v>
                </c:pt>
                <c:pt idx="3897">
                  <c:v>103.16</c:v>
                </c:pt>
                <c:pt idx="3898">
                  <c:v>104.08</c:v>
                </c:pt>
                <c:pt idx="3899">
                  <c:v>104.8</c:v>
                </c:pt>
                <c:pt idx="3900">
                  <c:v>103.62</c:v>
                </c:pt>
                <c:pt idx="3901">
                  <c:v>100.58</c:v>
                </c:pt>
                <c:pt idx="3902">
                  <c:v>99.32</c:v>
                </c:pt>
                <c:pt idx="3903">
                  <c:v>97.88</c:v>
                </c:pt>
                <c:pt idx="3904">
                  <c:v>96.84</c:v>
                </c:pt>
                <c:pt idx="3905">
                  <c:v>97.48</c:v>
                </c:pt>
                <c:pt idx="3906">
                  <c:v>98.94</c:v>
                </c:pt>
                <c:pt idx="3907">
                  <c:v>99.07</c:v>
                </c:pt>
                <c:pt idx="3908">
                  <c:v>99.25</c:v>
                </c:pt>
                <c:pt idx="3909">
                  <c:v>100.71</c:v>
                </c:pt>
                <c:pt idx="3910">
                  <c:v>101.62</c:v>
                </c:pt>
                <c:pt idx="3911">
                  <c:v>102.39</c:v>
                </c:pt>
                <c:pt idx="3912">
                  <c:v>102.88</c:v>
                </c:pt>
                <c:pt idx="3913">
                  <c:v>101.53</c:v>
                </c:pt>
                <c:pt idx="3914">
                  <c:v>98.34</c:v>
                </c:pt>
                <c:pt idx="3915">
                  <c:v>100.32</c:v>
                </c:pt>
                <c:pt idx="3916">
                  <c:v>104.6</c:v>
                </c:pt>
                <c:pt idx="3917">
                  <c:v>105</c:v>
                </c:pt>
                <c:pt idx="3918">
                  <c:v>105.18</c:v>
                </c:pt>
                <c:pt idx="3919">
                  <c:v>103.79</c:v>
                </c:pt>
                <c:pt idx="3920">
                  <c:v>103.59</c:v>
                </c:pt>
                <c:pt idx="3921">
                  <c:v>101.31</c:v>
                </c:pt>
                <c:pt idx="3922">
                  <c:v>102.17</c:v>
                </c:pt>
                <c:pt idx="3923">
                  <c:v>102.7</c:v>
                </c:pt>
                <c:pt idx="3924">
                  <c:v>101.57</c:v>
                </c:pt>
                <c:pt idx="3925">
                  <c:v>104.27</c:v>
                </c:pt>
                <c:pt idx="3926">
                  <c:v>103.83</c:v>
                </c:pt>
                <c:pt idx="3927">
                  <c:v>104.55</c:v>
                </c:pt>
                <c:pt idx="3928">
                  <c:v>103.1</c:v>
                </c:pt>
                <c:pt idx="3929">
                  <c:v>102.14</c:v>
                </c:pt>
                <c:pt idx="3930">
                  <c:v>100.46</c:v>
                </c:pt>
                <c:pt idx="3931">
                  <c:v>101.24</c:v>
                </c:pt>
                <c:pt idx="3932">
                  <c:v>103.77</c:v>
                </c:pt>
                <c:pt idx="3933">
                  <c:v>102.14</c:v>
                </c:pt>
                <c:pt idx="3934">
                  <c:v>101.79</c:v>
                </c:pt>
                <c:pt idx="3935">
                  <c:v>100.43</c:v>
                </c:pt>
                <c:pt idx="3936">
                  <c:v>101.63</c:v>
                </c:pt>
                <c:pt idx="3937">
                  <c:v>102.04</c:v>
                </c:pt>
                <c:pt idx="3938">
                  <c:v>103.51</c:v>
                </c:pt>
                <c:pt idx="3939">
                  <c:v>103.37</c:v>
                </c:pt>
                <c:pt idx="3940">
                  <c:v>104.07</c:v>
                </c:pt>
                <c:pt idx="3941">
                  <c:v>103.87</c:v>
                </c:pt>
                <c:pt idx="3942">
                  <c:v>101.5</c:v>
                </c:pt>
                <c:pt idx="3943">
                  <c:v>103.11</c:v>
                </c:pt>
                <c:pt idx="3944">
                  <c:v>103.38</c:v>
                </c:pt>
                <c:pt idx="3945">
                  <c:v>105.1</c:v>
                </c:pt>
                <c:pt idx="3946">
                  <c:v>105.8</c:v>
                </c:pt>
                <c:pt idx="3947">
                  <c:v>105.21</c:v>
                </c:pt>
                <c:pt idx="3948">
                  <c:v>105.56</c:v>
                </c:pt>
                <c:pt idx="3949">
                  <c:v>102.72</c:v>
                </c:pt>
                <c:pt idx="3950">
                  <c:v>100.36</c:v>
                </c:pt>
                <c:pt idx="3951">
                  <c:v>99.8</c:v>
                </c:pt>
                <c:pt idx="3952">
                  <c:v>101.51</c:v>
                </c:pt>
                <c:pt idx="3953">
                  <c:v>100.62</c:v>
                </c:pt>
                <c:pt idx="3954">
                  <c:v>102.74</c:v>
                </c:pt>
                <c:pt idx="3955">
                  <c:v>102.49</c:v>
                </c:pt>
                <c:pt idx="3956">
                  <c:v>103.19</c:v>
                </c:pt>
                <c:pt idx="3957">
                  <c:v>103.96</c:v>
                </c:pt>
                <c:pt idx="3958">
                  <c:v>106.12</c:v>
                </c:pt>
                <c:pt idx="3959">
                  <c:v>107.46</c:v>
                </c:pt>
                <c:pt idx="3960">
                  <c:v>107.75</c:v>
                </c:pt>
                <c:pt idx="3961">
                  <c:v>107.9</c:v>
                </c:pt>
                <c:pt idx="3962">
                  <c:v>108.43</c:v>
                </c:pt>
                <c:pt idx="3963">
                  <c:v>108.18</c:v>
                </c:pt>
                <c:pt idx="3964">
                  <c:v>109.03</c:v>
                </c:pt>
                <c:pt idx="3965">
                  <c:v>109.05</c:v>
                </c:pt>
                <c:pt idx="3966">
                  <c:v>109.29</c:v>
                </c:pt>
                <c:pt idx="3967">
                  <c:v>109.67</c:v>
                </c:pt>
                <c:pt idx="3968">
                  <c:v>109.71</c:v>
                </c:pt>
                <c:pt idx="3969">
                  <c:v>109.34</c:v>
                </c:pt>
                <c:pt idx="3970">
                  <c:v>108.82</c:v>
                </c:pt>
                <c:pt idx="3971">
                  <c:v>109.27</c:v>
                </c:pt>
                <c:pt idx="3972">
                  <c:v>108.23</c:v>
                </c:pt>
                <c:pt idx="3973">
                  <c:v>108.1</c:v>
                </c:pt>
                <c:pt idx="3974">
                  <c:v>107.57</c:v>
                </c:pt>
                <c:pt idx="3975">
                  <c:v>108.1</c:v>
                </c:pt>
                <c:pt idx="3976">
                  <c:v>107.47</c:v>
                </c:pt>
                <c:pt idx="3977">
                  <c:v>107.89</c:v>
                </c:pt>
                <c:pt idx="3978">
                  <c:v>109.94</c:v>
                </c:pt>
                <c:pt idx="3979">
                  <c:v>109.63</c:v>
                </c:pt>
                <c:pt idx="3980">
                  <c:v>109.81</c:v>
                </c:pt>
                <c:pt idx="3981">
                  <c:v>108.77</c:v>
                </c:pt>
                <c:pt idx="3982">
                  <c:v>108.39</c:v>
                </c:pt>
                <c:pt idx="3983">
                  <c:v>107.32</c:v>
                </c:pt>
                <c:pt idx="3984">
                  <c:v>108.49</c:v>
                </c:pt>
                <c:pt idx="3985">
                  <c:v>109.28</c:v>
                </c:pt>
                <c:pt idx="3986">
                  <c:v>110.69</c:v>
                </c:pt>
                <c:pt idx="3987">
                  <c:v>110.26</c:v>
                </c:pt>
                <c:pt idx="3988">
                  <c:v>111.58</c:v>
                </c:pt>
                <c:pt idx="3989">
                  <c:v>111.82</c:v>
                </c:pt>
                <c:pt idx="3990">
                  <c:v>111.41</c:v>
                </c:pt>
                <c:pt idx="3991">
                  <c:v>110.74</c:v>
                </c:pt>
                <c:pt idx="3992">
                  <c:v>110.82</c:v>
                </c:pt>
                <c:pt idx="3993">
                  <c:v>110.51</c:v>
                </c:pt>
                <c:pt idx="3994">
                  <c:v>112.12</c:v>
                </c:pt>
                <c:pt idx="3995">
                  <c:v>112.23</c:v>
                </c:pt>
                <c:pt idx="3996">
                  <c:v>115.21</c:v>
                </c:pt>
                <c:pt idx="3997">
                  <c:v>116.27</c:v>
                </c:pt>
                <c:pt idx="3998">
                  <c:v>116.91</c:v>
                </c:pt>
                <c:pt idx="3999">
                  <c:v>115.97</c:v>
                </c:pt>
                <c:pt idx="4000">
                  <c:v>115.49</c:v>
                </c:pt>
                <c:pt idx="4001">
                  <c:v>115.65</c:v>
                </c:pt>
                <c:pt idx="4002">
                  <c:v>115.81</c:v>
                </c:pt>
                <c:pt idx="4003">
                  <c:v>117.15</c:v>
                </c:pt>
                <c:pt idx="4004">
                  <c:v>115.2</c:v>
                </c:pt>
                <c:pt idx="4005">
                  <c:v>112.1</c:v>
                </c:pt>
                <c:pt idx="4006">
                  <c:v>112.37</c:v>
                </c:pt>
                <c:pt idx="4007">
                  <c:v>113.11</c:v>
                </c:pt>
                <c:pt idx="4008">
                  <c:v>113.31</c:v>
                </c:pt>
                <c:pt idx="4009">
                  <c:v>110.86</c:v>
                </c:pt>
                <c:pt idx="4010">
                  <c:v>109.05</c:v>
                </c:pt>
                <c:pt idx="4011">
                  <c:v>109.09</c:v>
                </c:pt>
                <c:pt idx="4012">
                  <c:v>110.66</c:v>
                </c:pt>
                <c:pt idx="4013">
                  <c:v>110.22</c:v>
                </c:pt>
                <c:pt idx="4014">
                  <c:v>108.56</c:v>
                </c:pt>
                <c:pt idx="4015">
                  <c:v>107.68</c:v>
                </c:pt>
                <c:pt idx="4016">
                  <c:v>109.46</c:v>
                </c:pt>
                <c:pt idx="4017">
                  <c:v>108.86</c:v>
                </c:pt>
                <c:pt idx="4018">
                  <c:v>109.45</c:v>
                </c:pt>
                <c:pt idx="4019">
                  <c:v>107.85</c:v>
                </c:pt>
                <c:pt idx="4020">
                  <c:v>107.32</c:v>
                </c:pt>
                <c:pt idx="4021">
                  <c:v>109.09</c:v>
                </c:pt>
                <c:pt idx="4022">
                  <c:v>109.49</c:v>
                </c:pt>
                <c:pt idx="4023">
                  <c:v>109.42</c:v>
                </c:pt>
                <c:pt idx="4024">
                  <c:v>109.66</c:v>
                </c:pt>
                <c:pt idx="4025">
                  <c:v>110.56</c:v>
                </c:pt>
                <c:pt idx="4026">
                  <c:v>109.02</c:v>
                </c:pt>
                <c:pt idx="4027">
                  <c:v>111.63</c:v>
                </c:pt>
                <c:pt idx="4028">
                  <c:v>110.65</c:v>
                </c:pt>
                <c:pt idx="4029">
                  <c:v>110.13</c:v>
                </c:pt>
                <c:pt idx="4030">
                  <c:v>110.67</c:v>
                </c:pt>
                <c:pt idx="4031">
                  <c:v>110.79</c:v>
                </c:pt>
                <c:pt idx="4032">
                  <c:v>109.55</c:v>
                </c:pt>
                <c:pt idx="4033">
                  <c:v>109.4</c:v>
                </c:pt>
                <c:pt idx="4034">
                  <c:v>109.47</c:v>
                </c:pt>
                <c:pt idx="4035">
                  <c:v>109.57</c:v>
                </c:pt>
                <c:pt idx="4036">
                  <c:v>107.74</c:v>
                </c:pt>
                <c:pt idx="4037">
                  <c:v>106.63</c:v>
                </c:pt>
                <c:pt idx="4038">
                  <c:v>105.7</c:v>
                </c:pt>
                <c:pt idx="4039">
                  <c:v>108.29</c:v>
                </c:pt>
                <c:pt idx="4040">
                  <c:v>108.04</c:v>
                </c:pt>
                <c:pt idx="4041">
                  <c:v>108.41</c:v>
                </c:pt>
                <c:pt idx="4042">
                  <c:v>107.53</c:v>
                </c:pt>
                <c:pt idx="4043">
                  <c:v>105.78</c:v>
                </c:pt>
                <c:pt idx="4044">
                  <c:v>104.85</c:v>
                </c:pt>
                <c:pt idx="4045">
                  <c:v>105.01</c:v>
                </c:pt>
                <c:pt idx="4046">
                  <c:v>105.46</c:v>
                </c:pt>
                <c:pt idx="4047">
                  <c:v>103.08</c:v>
                </c:pt>
                <c:pt idx="4048">
                  <c:v>104.29</c:v>
                </c:pt>
                <c:pt idx="4049">
                  <c:v>105.76</c:v>
                </c:pt>
                <c:pt idx="4050">
                  <c:v>106.29</c:v>
                </c:pt>
                <c:pt idx="4051">
                  <c:v>106.9</c:v>
                </c:pt>
                <c:pt idx="4052">
                  <c:v>108.29</c:v>
                </c:pt>
                <c:pt idx="4053">
                  <c:v>108.25</c:v>
                </c:pt>
                <c:pt idx="4054">
                  <c:v>108.8</c:v>
                </c:pt>
                <c:pt idx="4055">
                  <c:v>108.29</c:v>
                </c:pt>
                <c:pt idx="4056">
                  <c:v>108.27</c:v>
                </c:pt>
                <c:pt idx="4057">
                  <c:v>109.9</c:v>
                </c:pt>
                <c:pt idx="4058">
                  <c:v>111.36</c:v>
                </c:pt>
                <c:pt idx="4059">
                  <c:v>110.83</c:v>
                </c:pt>
                <c:pt idx="4060">
                  <c:v>112.04</c:v>
                </c:pt>
                <c:pt idx="4061">
                  <c:v>111.32</c:v>
                </c:pt>
                <c:pt idx="4062">
                  <c:v>111.07</c:v>
                </c:pt>
                <c:pt idx="4063">
                  <c:v>111.49</c:v>
                </c:pt>
                <c:pt idx="4064">
                  <c:v>113.06</c:v>
                </c:pt>
                <c:pt idx="4065">
                  <c:v>113.27</c:v>
                </c:pt>
                <c:pt idx="4066">
                  <c:v>112.07</c:v>
                </c:pt>
                <c:pt idx="4067">
                  <c:v>111.5</c:v>
                </c:pt>
                <c:pt idx="4068">
                  <c:v>110.07</c:v>
                </c:pt>
                <c:pt idx="4069">
                  <c:v>108.91</c:v>
                </c:pt>
                <c:pt idx="4070">
                  <c:v>109.47</c:v>
                </c:pt>
                <c:pt idx="4071">
                  <c:v>108.99</c:v>
                </c:pt>
                <c:pt idx="4072">
                  <c:v>108.08</c:v>
                </c:pt>
                <c:pt idx="4073">
                  <c:v>110.3</c:v>
                </c:pt>
                <c:pt idx="4074">
                  <c:v>108.91</c:v>
                </c:pt>
                <c:pt idx="4075">
                  <c:v>109.56</c:v>
                </c:pt>
                <c:pt idx="4076">
                  <c:v>110.78</c:v>
                </c:pt>
                <c:pt idx="4077">
                  <c:v>112.15</c:v>
                </c:pt>
                <c:pt idx="4078">
                  <c:v>111.58</c:v>
                </c:pt>
                <c:pt idx="4079">
                  <c:v>111.57</c:v>
                </c:pt>
                <c:pt idx="4080">
                  <c:v>111.65</c:v>
                </c:pt>
                <c:pt idx="4081">
                  <c:v>112.06</c:v>
                </c:pt>
                <c:pt idx="4082">
                  <c:v>110.47</c:v>
                </c:pt>
                <c:pt idx="4083">
                  <c:v>109.95</c:v>
                </c:pt>
                <c:pt idx="4084">
                  <c:v>107.94</c:v>
                </c:pt>
                <c:pt idx="4085">
                  <c:v>106.57</c:v>
                </c:pt>
                <c:pt idx="4086">
                  <c:v>106.71</c:v>
                </c:pt>
                <c:pt idx="4087">
                  <c:v>107.01</c:v>
                </c:pt>
                <c:pt idx="4088">
                  <c:v>107.42</c:v>
                </c:pt>
                <c:pt idx="4089">
                  <c:v>107.49</c:v>
                </c:pt>
                <c:pt idx="4090">
                  <c:v>106.44</c:v>
                </c:pt>
                <c:pt idx="4091">
                  <c:v>108.02</c:v>
                </c:pt>
                <c:pt idx="4092">
                  <c:v>107.12</c:v>
                </c:pt>
                <c:pt idx="4093">
                  <c:v>108.09</c:v>
                </c:pt>
                <c:pt idx="4094">
                  <c:v>107.46</c:v>
                </c:pt>
                <c:pt idx="4095">
                  <c:v>108.45</c:v>
                </c:pt>
                <c:pt idx="4096">
                  <c:v>108.01</c:v>
                </c:pt>
                <c:pt idx="4097">
                  <c:v>109.17</c:v>
                </c:pt>
                <c:pt idx="4098">
                  <c:v>109.69</c:v>
                </c:pt>
                <c:pt idx="4099">
                  <c:v>109.69</c:v>
                </c:pt>
                <c:pt idx="4100">
                  <c:v>109.14</c:v>
                </c:pt>
                <c:pt idx="4101">
                  <c:v>108.72</c:v>
                </c:pt>
                <c:pt idx="4102">
                  <c:v>109.1</c:v>
                </c:pt>
                <c:pt idx="4103">
                  <c:v>108.83</c:v>
                </c:pt>
                <c:pt idx="4104">
                  <c:v>109.36</c:v>
                </c:pt>
                <c:pt idx="4105">
                  <c:v>108.16</c:v>
                </c:pt>
                <c:pt idx="4106">
                  <c:v>106.55</c:v>
                </c:pt>
                <c:pt idx="4107">
                  <c:v>107.04</c:v>
                </c:pt>
                <c:pt idx="4108">
                  <c:v>106.81</c:v>
                </c:pt>
                <c:pt idx="4109">
                  <c:v>108.15</c:v>
                </c:pt>
                <c:pt idx="4110">
                  <c:v>110.12</c:v>
                </c:pt>
                <c:pt idx="4111">
                  <c:v>110.18</c:v>
                </c:pt>
                <c:pt idx="4112">
                  <c:v>109.21</c:v>
                </c:pt>
                <c:pt idx="4113">
                  <c:v>108.62</c:v>
                </c:pt>
                <c:pt idx="4114">
                  <c:v>108.98</c:v>
                </c:pt>
                <c:pt idx="4115">
                  <c:v>108.63</c:v>
                </c:pt>
                <c:pt idx="4116">
                  <c:v>110.14</c:v>
                </c:pt>
                <c:pt idx="4117">
                  <c:v>110.37</c:v>
                </c:pt>
                <c:pt idx="4118">
                  <c:v>109.42</c:v>
                </c:pt>
                <c:pt idx="4119">
                  <c:v>109.03</c:v>
                </c:pt>
                <c:pt idx="4120">
                  <c:v>109.76</c:v>
                </c:pt>
                <c:pt idx="4121">
                  <c:v>109.19</c:v>
                </c:pt>
                <c:pt idx="4122">
                  <c:v>109.39</c:v>
                </c:pt>
                <c:pt idx="4123">
                  <c:v>108.54</c:v>
                </c:pt>
                <c:pt idx="4124">
                  <c:v>108.98</c:v>
                </c:pt>
                <c:pt idx="4125">
                  <c:v>111.26</c:v>
                </c:pt>
                <c:pt idx="4126">
                  <c:v>109.17</c:v>
                </c:pt>
                <c:pt idx="4127">
                  <c:v>108.15</c:v>
                </c:pt>
                <c:pt idx="4128">
                  <c:v>107.99</c:v>
                </c:pt>
                <c:pt idx="4129">
                  <c:v>109.14</c:v>
                </c:pt>
                <c:pt idx="4130">
                  <c:v>108.27</c:v>
                </c:pt>
                <c:pt idx="4131">
                  <c:v>108.35</c:v>
                </c:pt>
                <c:pt idx="4132">
                  <c:v>107.88</c:v>
                </c:pt>
                <c:pt idx="4133">
                  <c:v>107.48</c:v>
                </c:pt>
                <c:pt idx="4134">
                  <c:v>108.08</c:v>
                </c:pt>
                <c:pt idx="4135">
                  <c:v>106.99</c:v>
                </c:pt>
                <c:pt idx="4136">
                  <c:v>106.79</c:v>
                </c:pt>
                <c:pt idx="4137">
                  <c:v>105.95</c:v>
                </c:pt>
                <c:pt idx="4138">
                  <c:v>105.73</c:v>
                </c:pt>
                <c:pt idx="4139">
                  <c:v>107.2</c:v>
                </c:pt>
                <c:pt idx="4140">
                  <c:v>106.59</c:v>
                </c:pt>
                <c:pt idx="4141">
                  <c:v>107.01</c:v>
                </c:pt>
                <c:pt idx="4142">
                  <c:v>105.9</c:v>
                </c:pt>
                <c:pt idx="4143">
                  <c:v>106.58</c:v>
                </c:pt>
                <c:pt idx="4144">
                  <c:v>106.64</c:v>
                </c:pt>
                <c:pt idx="4145">
                  <c:v>105.95</c:v>
                </c:pt>
                <c:pt idx="4146">
                  <c:v>105.7</c:v>
                </c:pt>
                <c:pt idx="4147">
                  <c:v>103.37</c:v>
                </c:pt>
                <c:pt idx="4148">
                  <c:v>104.88</c:v>
                </c:pt>
                <c:pt idx="4149">
                  <c:v>106.41</c:v>
                </c:pt>
                <c:pt idx="4150">
                  <c:v>104.89</c:v>
                </c:pt>
                <c:pt idx="4151">
                  <c:v>105.83</c:v>
                </c:pt>
                <c:pt idx="4152">
                  <c:v>107.39</c:v>
                </c:pt>
                <c:pt idx="4153">
                  <c:v>107.1</c:v>
                </c:pt>
                <c:pt idx="4154">
                  <c:v>107.34</c:v>
                </c:pt>
                <c:pt idx="4155">
                  <c:v>107.68</c:v>
                </c:pt>
                <c:pt idx="4156">
                  <c:v>109.1</c:v>
                </c:pt>
                <c:pt idx="4157">
                  <c:v>109.71</c:v>
                </c:pt>
                <c:pt idx="4158">
                  <c:v>109.79</c:v>
                </c:pt>
                <c:pt idx="4159">
                  <c:v>109.69</c:v>
                </c:pt>
                <c:pt idx="4160">
                  <c:v>108.54</c:v>
                </c:pt>
                <c:pt idx="4161">
                  <c:v>108.48</c:v>
                </c:pt>
                <c:pt idx="4162">
                  <c:v>109.79</c:v>
                </c:pt>
                <c:pt idx="4163">
                  <c:v>109.53</c:v>
                </c:pt>
                <c:pt idx="4164">
                  <c:v>109.12</c:v>
                </c:pt>
                <c:pt idx="4165">
                  <c:v>109.89</c:v>
                </c:pt>
                <c:pt idx="4166">
                  <c:v>108.63</c:v>
                </c:pt>
                <c:pt idx="4167">
                  <c:v>108.63</c:v>
                </c:pt>
                <c:pt idx="4168">
                  <c:v>109.48</c:v>
                </c:pt>
                <c:pt idx="4169">
                  <c:v>109.48</c:v>
                </c:pt>
                <c:pt idx="4170">
                  <c:v>108.3</c:v>
                </c:pt>
                <c:pt idx="4171">
                  <c:v>108.17</c:v>
                </c:pt>
                <c:pt idx="4172">
                  <c:v>108.19</c:v>
                </c:pt>
                <c:pt idx="4173">
                  <c:v>108.26</c:v>
                </c:pt>
                <c:pt idx="4174">
                  <c:v>108.37</c:v>
                </c:pt>
                <c:pt idx="4175">
                  <c:v>108.78</c:v>
                </c:pt>
                <c:pt idx="4176">
                  <c:v>109.87</c:v>
                </c:pt>
                <c:pt idx="4177">
                  <c:v>109.74</c:v>
                </c:pt>
                <c:pt idx="4178">
                  <c:v>110.9</c:v>
                </c:pt>
                <c:pt idx="4179">
                  <c:v>110.84</c:v>
                </c:pt>
                <c:pt idx="4180">
                  <c:v>110.35</c:v>
                </c:pt>
                <c:pt idx="4181">
                  <c:v>111.32</c:v>
                </c:pt>
                <c:pt idx="4182">
                  <c:v>110.89</c:v>
                </c:pt>
                <c:pt idx="4183">
                  <c:v>110.19</c:v>
                </c:pt>
                <c:pt idx="4184">
                  <c:v>110.01</c:v>
                </c:pt>
                <c:pt idx="4185">
                  <c:v>109.81</c:v>
                </c:pt>
                <c:pt idx="4186">
                  <c:v>109.09</c:v>
                </c:pt>
                <c:pt idx="4187">
                  <c:v>109.98</c:v>
                </c:pt>
                <c:pt idx="4188">
                  <c:v>109.21</c:v>
                </c:pt>
                <c:pt idx="4189">
                  <c:v>109.34</c:v>
                </c:pt>
                <c:pt idx="4190">
                  <c:v>108.87</c:v>
                </c:pt>
                <c:pt idx="4191">
                  <c:v>109.07</c:v>
                </c:pt>
                <c:pt idx="4192">
                  <c:v>108.43</c:v>
                </c:pt>
                <c:pt idx="4193">
                  <c:v>109.21</c:v>
                </c:pt>
                <c:pt idx="4194">
                  <c:v>110.55</c:v>
                </c:pt>
                <c:pt idx="4195">
                  <c:v>109.18</c:v>
                </c:pt>
                <c:pt idx="4196">
                  <c:v>109.83</c:v>
                </c:pt>
                <c:pt idx="4197">
                  <c:v>112.18</c:v>
                </c:pt>
                <c:pt idx="4198">
                  <c:v>113.15</c:v>
                </c:pt>
                <c:pt idx="4199">
                  <c:v>113.42</c:v>
                </c:pt>
                <c:pt idx="4200">
                  <c:v>114.02</c:v>
                </c:pt>
                <c:pt idx="4201">
                  <c:v>114.25</c:v>
                </c:pt>
                <c:pt idx="4202">
                  <c:v>115.19</c:v>
                </c:pt>
                <c:pt idx="4203">
                  <c:v>114.55</c:v>
                </c:pt>
                <c:pt idx="4204">
                  <c:v>113.62</c:v>
                </c:pt>
                <c:pt idx="4205">
                  <c:v>113.74</c:v>
                </c:pt>
                <c:pt idx="4206">
                  <c:v>112.84</c:v>
                </c:pt>
                <c:pt idx="4207">
                  <c:v>112.61</c:v>
                </c:pt>
                <c:pt idx="4208">
                  <c:v>112.62</c:v>
                </c:pt>
                <c:pt idx="4209">
                  <c:v>111.03</c:v>
                </c:pt>
                <c:pt idx="4210">
                  <c:v>110.84</c:v>
                </c:pt>
                <c:pt idx="4211">
                  <c:v>110.18</c:v>
                </c:pt>
                <c:pt idx="4212">
                  <c:v>108.98</c:v>
                </c:pt>
                <c:pt idx="4213">
                  <c:v>108.7</c:v>
                </c:pt>
                <c:pt idx="4214">
                  <c:v>107.65</c:v>
                </c:pt>
                <c:pt idx="4215">
                  <c:v>106.84</c:v>
                </c:pt>
                <c:pt idx="4216">
                  <c:v>106.2</c:v>
                </c:pt>
                <c:pt idx="4217">
                  <c:v>105.77</c:v>
                </c:pt>
                <c:pt idx="4218">
                  <c:v>104.73</c:v>
                </c:pt>
                <c:pt idx="4219">
                  <c:v>104.73</c:v>
                </c:pt>
                <c:pt idx="4220">
                  <c:v>105.41</c:v>
                </c:pt>
                <c:pt idx="4221">
                  <c:v>106.04</c:v>
                </c:pt>
                <c:pt idx="4222">
                  <c:v>106.03</c:v>
                </c:pt>
                <c:pt idx="4223">
                  <c:v>105.71</c:v>
                </c:pt>
                <c:pt idx="4224">
                  <c:v>106.48</c:v>
                </c:pt>
                <c:pt idx="4225">
                  <c:v>106.85</c:v>
                </c:pt>
                <c:pt idx="4226">
                  <c:v>105.78</c:v>
                </c:pt>
                <c:pt idx="4227">
                  <c:v>106.89</c:v>
                </c:pt>
                <c:pt idx="4228">
                  <c:v>106.7</c:v>
                </c:pt>
                <c:pt idx="4229">
                  <c:v>106.98</c:v>
                </c:pt>
                <c:pt idx="4230">
                  <c:v>106.47</c:v>
                </c:pt>
                <c:pt idx="4231">
                  <c:v>104.94</c:v>
                </c:pt>
                <c:pt idx="4232">
                  <c:v>103.45</c:v>
                </c:pt>
                <c:pt idx="4233">
                  <c:v>103.63</c:v>
                </c:pt>
                <c:pt idx="4234">
                  <c:v>102.82</c:v>
                </c:pt>
                <c:pt idx="4235">
                  <c:v>104.17</c:v>
                </c:pt>
                <c:pt idx="4236">
                  <c:v>104.02</c:v>
                </c:pt>
                <c:pt idx="4237">
                  <c:v>103.36</c:v>
                </c:pt>
                <c:pt idx="4238">
                  <c:v>103.47</c:v>
                </c:pt>
                <c:pt idx="4239">
                  <c:v>101.68</c:v>
                </c:pt>
                <c:pt idx="4240">
                  <c:v>102.27</c:v>
                </c:pt>
                <c:pt idx="4241">
                  <c:v>101.15</c:v>
                </c:pt>
                <c:pt idx="4242">
                  <c:v>101.13</c:v>
                </c:pt>
                <c:pt idx="4243">
                  <c:v>99.37</c:v>
                </c:pt>
                <c:pt idx="4244">
                  <c:v>99.74</c:v>
                </c:pt>
                <c:pt idx="4245">
                  <c:v>99.92</c:v>
                </c:pt>
                <c:pt idx="4246">
                  <c:v>100.28</c:v>
                </c:pt>
                <c:pt idx="4247">
                  <c:v>100.09</c:v>
                </c:pt>
                <c:pt idx="4248">
                  <c:v>100.49</c:v>
                </c:pt>
                <c:pt idx="4249">
                  <c:v>100.5</c:v>
                </c:pt>
                <c:pt idx="4250">
                  <c:v>100.4</c:v>
                </c:pt>
                <c:pt idx="4251">
                  <c:v>100.71</c:v>
                </c:pt>
                <c:pt idx="4252">
                  <c:v>101.12</c:v>
                </c:pt>
                <c:pt idx="4253">
                  <c:v>100.21</c:v>
                </c:pt>
                <c:pt idx="4254">
                  <c:v>100.88</c:v>
                </c:pt>
                <c:pt idx="4255">
                  <c:v>101.21</c:v>
                </c:pt>
                <c:pt idx="4256">
                  <c:v>99.51</c:v>
                </c:pt>
                <c:pt idx="4257">
                  <c:v>99.53</c:v>
                </c:pt>
                <c:pt idx="4258">
                  <c:v>98.08</c:v>
                </c:pt>
                <c:pt idx="4259">
                  <c:v>96.26</c:v>
                </c:pt>
                <c:pt idx="4260">
                  <c:v>96.42</c:v>
                </c:pt>
                <c:pt idx="4261">
                  <c:v>96.31</c:v>
                </c:pt>
                <c:pt idx="4262">
                  <c:v>96.43</c:v>
                </c:pt>
                <c:pt idx="4263">
                  <c:v>97.39</c:v>
                </c:pt>
                <c:pt idx="4264">
                  <c:v>97.7</c:v>
                </c:pt>
                <c:pt idx="4265">
                  <c:v>96.82</c:v>
                </c:pt>
                <c:pt idx="4266">
                  <c:v>96.75</c:v>
                </c:pt>
                <c:pt idx="4267">
                  <c:v>95.37</c:v>
                </c:pt>
                <c:pt idx="4268">
                  <c:v>94.87</c:v>
                </c:pt>
                <c:pt idx="4269">
                  <c:v>94.53</c:v>
                </c:pt>
                <c:pt idx="4270">
                  <c:v>95.2</c:v>
                </c:pt>
                <c:pt idx="4271">
                  <c:v>95.08</c:v>
                </c:pt>
                <c:pt idx="4272">
                  <c:v>95.7</c:v>
                </c:pt>
                <c:pt idx="4273">
                  <c:v>94.67</c:v>
                </c:pt>
                <c:pt idx="4274">
                  <c:v>94.57</c:v>
                </c:pt>
                <c:pt idx="4275">
                  <c:v>91.29</c:v>
                </c:pt>
                <c:pt idx="4276">
                  <c:v>90.8</c:v>
                </c:pt>
                <c:pt idx="4277">
                  <c:v>90.65</c:v>
                </c:pt>
                <c:pt idx="4278">
                  <c:v>90.9</c:v>
                </c:pt>
                <c:pt idx="4279">
                  <c:v>90.25</c:v>
                </c:pt>
                <c:pt idx="4280">
                  <c:v>90.47</c:v>
                </c:pt>
                <c:pt idx="4281">
                  <c:v>88.66</c:v>
                </c:pt>
                <c:pt idx="4282">
                  <c:v>87.82</c:v>
                </c:pt>
                <c:pt idx="4283">
                  <c:v>86.36</c:v>
                </c:pt>
                <c:pt idx="4284">
                  <c:v>84.02</c:v>
                </c:pt>
                <c:pt idx="4285">
                  <c:v>84.02</c:v>
                </c:pt>
                <c:pt idx="4286">
                  <c:v>85.27</c:v>
                </c:pt>
                <c:pt idx="4287">
                  <c:v>84.42</c:v>
                </c:pt>
                <c:pt idx="4288">
                  <c:v>85.17</c:v>
                </c:pt>
                <c:pt idx="4289">
                  <c:v>86.38</c:v>
                </c:pt>
                <c:pt idx="4290">
                  <c:v>85.94</c:v>
                </c:pt>
                <c:pt idx="4291">
                  <c:v>86</c:v>
                </c:pt>
                <c:pt idx="4292">
                  <c:v>85.64</c:v>
                </c:pt>
                <c:pt idx="4293">
                  <c:v>85.57</c:v>
                </c:pt>
                <c:pt idx="4294">
                  <c:v>86.91</c:v>
                </c:pt>
                <c:pt idx="4295">
                  <c:v>85.5</c:v>
                </c:pt>
                <c:pt idx="4296">
                  <c:v>84.17</c:v>
                </c:pt>
                <c:pt idx="4297">
                  <c:v>84.9</c:v>
                </c:pt>
                <c:pt idx="4298">
                  <c:v>82.12</c:v>
                </c:pt>
                <c:pt idx="4299">
                  <c:v>82.88</c:v>
                </c:pt>
                <c:pt idx="4300">
                  <c:v>82.08</c:v>
                </c:pt>
                <c:pt idx="4301">
                  <c:v>83.2</c:v>
                </c:pt>
                <c:pt idx="4302">
                  <c:v>82.9</c:v>
                </c:pt>
                <c:pt idx="4303">
                  <c:v>80.94</c:v>
                </c:pt>
                <c:pt idx="4304">
                  <c:v>80.42</c:v>
                </c:pt>
                <c:pt idx="4305">
                  <c:v>77.739999999999995</c:v>
                </c:pt>
                <c:pt idx="4306">
                  <c:v>77.510000000000005</c:v>
                </c:pt>
                <c:pt idx="4307">
                  <c:v>76.86</c:v>
                </c:pt>
                <c:pt idx="4308">
                  <c:v>77.23</c:v>
                </c:pt>
                <c:pt idx="4309">
                  <c:v>77.209999999999994</c:v>
                </c:pt>
                <c:pt idx="4310">
                  <c:v>77.61</c:v>
                </c:pt>
                <c:pt idx="4311">
                  <c:v>79.2</c:v>
                </c:pt>
                <c:pt idx="4312">
                  <c:v>79.62</c:v>
                </c:pt>
                <c:pt idx="4313">
                  <c:v>77.62</c:v>
                </c:pt>
                <c:pt idx="4314">
                  <c:v>77.39</c:v>
                </c:pt>
                <c:pt idx="4315">
                  <c:v>71.89</c:v>
                </c:pt>
                <c:pt idx="4316">
                  <c:v>70.87</c:v>
                </c:pt>
                <c:pt idx="4317">
                  <c:v>71.13</c:v>
                </c:pt>
                <c:pt idx="4318">
                  <c:v>70.13</c:v>
                </c:pt>
                <c:pt idx="4319">
                  <c:v>68.48</c:v>
                </c:pt>
                <c:pt idx="4320">
                  <c:v>68</c:v>
                </c:pt>
                <c:pt idx="4321">
                  <c:v>65.64</c:v>
                </c:pt>
                <c:pt idx="4322">
                  <c:v>66.11</c:v>
                </c:pt>
                <c:pt idx="4323">
                  <c:v>63.32</c:v>
                </c:pt>
                <c:pt idx="4324">
                  <c:v>63.65</c:v>
                </c:pt>
                <c:pt idx="4325">
                  <c:v>61.67</c:v>
                </c:pt>
                <c:pt idx="4326">
                  <c:v>61.09</c:v>
                </c:pt>
                <c:pt idx="4327">
                  <c:v>60.26</c:v>
                </c:pt>
                <c:pt idx="4328">
                  <c:v>59.84</c:v>
                </c:pt>
                <c:pt idx="4329">
                  <c:v>58.81</c:v>
                </c:pt>
                <c:pt idx="4330">
                  <c:v>58.87</c:v>
                </c:pt>
                <c:pt idx="4331">
                  <c:v>58.31</c:v>
                </c:pt>
                <c:pt idx="4332">
                  <c:v>59.07</c:v>
                </c:pt>
                <c:pt idx="4333">
                  <c:v>58.67</c:v>
                </c:pt>
                <c:pt idx="4334">
                  <c:v>58.72</c:v>
                </c:pt>
                <c:pt idx="4335">
                  <c:v>57.86</c:v>
                </c:pt>
                <c:pt idx="4336">
                  <c:v>55.6</c:v>
                </c:pt>
                <c:pt idx="4337">
                  <c:v>55.27</c:v>
                </c:pt>
                <c:pt idx="4338">
                  <c:v>55.38</c:v>
                </c:pt>
                <c:pt idx="4339">
                  <c:v>51.08</c:v>
                </c:pt>
                <c:pt idx="4340">
                  <c:v>50.12</c:v>
                </c:pt>
                <c:pt idx="4341">
                  <c:v>49.06</c:v>
                </c:pt>
                <c:pt idx="4342">
                  <c:v>49.43</c:v>
                </c:pt>
                <c:pt idx="4343">
                  <c:v>47.64</c:v>
                </c:pt>
                <c:pt idx="4344">
                  <c:v>46.9</c:v>
                </c:pt>
                <c:pt idx="4345">
                  <c:v>45.13</c:v>
                </c:pt>
                <c:pt idx="4346">
                  <c:v>45.82</c:v>
                </c:pt>
                <c:pt idx="4347">
                  <c:v>47.66</c:v>
                </c:pt>
                <c:pt idx="4348">
                  <c:v>47.38</c:v>
                </c:pt>
                <c:pt idx="4349">
                  <c:v>46.49</c:v>
                </c:pt>
                <c:pt idx="4350">
                  <c:v>46.5</c:v>
                </c:pt>
                <c:pt idx="4351">
                  <c:v>46.09</c:v>
                </c:pt>
                <c:pt idx="4352">
                  <c:v>46.69</c:v>
                </c:pt>
                <c:pt idx="4353">
                  <c:v>46.07</c:v>
                </c:pt>
                <c:pt idx="4354">
                  <c:v>46.55</c:v>
                </c:pt>
                <c:pt idx="4355">
                  <c:v>47.07</c:v>
                </c:pt>
                <c:pt idx="4356">
                  <c:v>46.61</c:v>
                </c:pt>
                <c:pt idx="4357">
                  <c:v>47.52</c:v>
                </c:pt>
                <c:pt idx="4358">
                  <c:v>51.74</c:v>
                </c:pt>
                <c:pt idx="4359">
                  <c:v>54.41</c:v>
                </c:pt>
                <c:pt idx="4360">
                  <c:v>55.07</c:v>
                </c:pt>
                <c:pt idx="4361">
                  <c:v>55.98</c:v>
                </c:pt>
                <c:pt idx="4362">
                  <c:v>55.88</c:v>
                </c:pt>
                <c:pt idx="4363">
                  <c:v>57</c:v>
                </c:pt>
                <c:pt idx="4364">
                  <c:v>55.79</c:v>
                </c:pt>
                <c:pt idx="4365">
                  <c:v>53.48</c:v>
                </c:pt>
                <c:pt idx="4366">
                  <c:v>56.23</c:v>
                </c:pt>
                <c:pt idx="4367">
                  <c:v>60.33</c:v>
                </c:pt>
                <c:pt idx="4368">
                  <c:v>61.57</c:v>
                </c:pt>
                <c:pt idx="4369">
                  <c:v>60.78</c:v>
                </c:pt>
                <c:pt idx="4370">
                  <c:v>60.72</c:v>
                </c:pt>
                <c:pt idx="4371">
                  <c:v>58.78</c:v>
                </c:pt>
                <c:pt idx="4372">
                  <c:v>60.99</c:v>
                </c:pt>
                <c:pt idx="4373">
                  <c:v>59.78</c:v>
                </c:pt>
                <c:pt idx="4374">
                  <c:v>60.33</c:v>
                </c:pt>
                <c:pt idx="4375">
                  <c:v>59.77</c:v>
                </c:pt>
                <c:pt idx="4376">
                  <c:v>61.39</c:v>
                </c:pt>
                <c:pt idx="4377">
                  <c:v>61.89</c:v>
                </c:pt>
                <c:pt idx="4378">
                  <c:v>60.75</c:v>
                </c:pt>
                <c:pt idx="4379">
                  <c:v>61.18</c:v>
                </c:pt>
                <c:pt idx="4380">
                  <c:v>59.18</c:v>
                </c:pt>
                <c:pt idx="4381">
                  <c:v>60.33</c:v>
                </c:pt>
                <c:pt idx="4382">
                  <c:v>59.15</c:v>
                </c:pt>
                <c:pt idx="4383">
                  <c:v>58.67</c:v>
                </c:pt>
                <c:pt idx="4384">
                  <c:v>55.95</c:v>
                </c:pt>
                <c:pt idx="4385">
                  <c:v>56.46</c:v>
                </c:pt>
                <c:pt idx="4386">
                  <c:v>56.66</c:v>
                </c:pt>
                <c:pt idx="4387">
                  <c:v>54.8</c:v>
                </c:pt>
                <c:pt idx="4388">
                  <c:v>52</c:v>
                </c:pt>
                <c:pt idx="4389">
                  <c:v>52.17</c:v>
                </c:pt>
                <c:pt idx="4390">
                  <c:v>52.59</c:v>
                </c:pt>
                <c:pt idx="4391">
                  <c:v>52.96</c:v>
                </c:pt>
                <c:pt idx="4392">
                  <c:v>53.88</c:v>
                </c:pt>
                <c:pt idx="4393">
                  <c:v>53.82</c:v>
                </c:pt>
                <c:pt idx="4394">
                  <c:v>53.61</c:v>
                </c:pt>
                <c:pt idx="4395">
                  <c:v>54.18</c:v>
                </c:pt>
                <c:pt idx="4396">
                  <c:v>57.02</c:v>
                </c:pt>
                <c:pt idx="4397">
                  <c:v>56.44</c:v>
                </c:pt>
                <c:pt idx="4398">
                  <c:v>53.99</c:v>
                </c:pt>
                <c:pt idx="4399">
                  <c:v>53.69</c:v>
                </c:pt>
                <c:pt idx="4400">
                  <c:v>55.73</c:v>
                </c:pt>
                <c:pt idx="4401">
                  <c:v>55.73</c:v>
                </c:pt>
                <c:pt idx="4402">
                  <c:v>55.73</c:v>
                </c:pt>
                <c:pt idx="4403">
                  <c:v>57.55</c:v>
                </c:pt>
                <c:pt idx="4404">
                  <c:v>56.42</c:v>
                </c:pt>
                <c:pt idx="4405">
                  <c:v>56.04</c:v>
                </c:pt>
                <c:pt idx="4406">
                  <c:v>56.82</c:v>
                </c:pt>
                <c:pt idx="4407">
                  <c:v>57.14</c:v>
                </c:pt>
                <c:pt idx="4408">
                  <c:v>57.69</c:v>
                </c:pt>
                <c:pt idx="4409">
                  <c:v>59.32</c:v>
                </c:pt>
                <c:pt idx="4410">
                  <c:v>60.13</c:v>
                </c:pt>
                <c:pt idx="4411">
                  <c:v>61.31</c:v>
                </c:pt>
                <c:pt idx="4412">
                  <c:v>61.2</c:v>
                </c:pt>
                <c:pt idx="4413">
                  <c:v>60.12</c:v>
                </c:pt>
                <c:pt idx="4414">
                  <c:v>60.12</c:v>
                </c:pt>
                <c:pt idx="4415">
                  <c:v>62.66</c:v>
                </c:pt>
                <c:pt idx="4416">
                  <c:v>62.96</c:v>
                </c:pt>
                <c:pt idx="4417">
                  <c:v>62.86</c:v>
                </c:pt>
                <c:pt idx="4418">
                  <c:v>62.61</c:v>
                </c:pt>
                <c:pt idx="4419">
                  <c:v>63.97</c:v>
                </c:pt>
                <c:pt idx="4420">
                  <c:v>63.9</c:v>
                </c:pt>
                <c:pt idx="4421">
                  <c:v>64.13</c:v>
                </c:pt>
                <c:pt idx="4422">
                  <c:v>64.62</c:v>
                </c:pt>
                <c:pt idx="4423">
                  <c:v>65.44</c:v>
                </c:pt>
                <c:pt idx="4424">
                  <c:v>66.22</c:v>
                </c:pt>
                <c:pt idx="4425">
                  <c:v>64.930000000000007</c:v>
                </c:pt>
                <c:pt idx="4426">
                  <c:v>63.82</c:v>
                </c:pt>
                <c:pt idx="4427">
                  <c:v>62.82</c:v>
                </c:pt>
                <c:pt idx="4428">
                  <c:v>65.09</c:v>
                </c:pt>
                <c:pt idx="4429">
                  <c:v>66.33</c:v>
                </c:pt>
                <c:pt idx="4430">
                  <c:v>65.58</c:v>
                </c:pt>
                <c:pt idx="4431">
                  <c:v>64.69</c:v>
                </c:pt>
                <c:pt idx="4432">
                  <c:v>65.150000000000006</c:v>
                </c:pt>
                <c:pt idx="4433">
                  <c:v>63.48</c:v>
                </c:pt>
                <c:pt idx="4434">
                  <c:v>63.52</c:v>
                </c:pt>
                <c:pt idx="4435">
                  <c:v>64.7</c:v>
                </c:pt>
                <c:pt idx="4436">
                  <c:v>64.7</c:v>
                </c:pt>
                <c:pt idx="4437">
                  <c:v>61.65</c:v>
                </c:pt>
                <c:pt idx="4438">
                  <c:v>61.35</c:v>
                </c:pt>
                <c:pt idx="4439">
                  <c:v>60.12</c:v>
                </c:pt>
                <c:pt idx="4440">
                  <c:v>63.16</c:v>
                </c:pt>
                <c:pt idx="4441">
                  <c:v>62.87</c:v>
                </c:pt>
                <c:pt idx="4442">
                  <c:v>63.14</c:v>
                </c:pt>
                <c:pt idx="4443">
                  <c:v>62.78</c:v>
                </c:pt>
                <c:pt idx="4444">
                  <c:v>60.34</c:v>
                </c:pt>
                <c:pt idx="4445">
                  <c:v>60.36</c:v>
                </c:pt>
                <c:pt idx="4446">
                  <c:v>61.33</c:v>
                </c:pt>
                <c:pt idx="4447">
                  <c:v>63.23</c:v>
                </c:pt>
                <c:pt idx="4448">
                  <c:v>64.680000000000007</c:v>
                </c:pt>
                <c:pt idx="4449">
                  <c:v>63.76</c:v>
                </c:pt>
                <c:pt idx="4450">
                  <c:v>63.19</c:v>
                </c:pt>
                <c:pt idx="4451">
                  <c:v>60.99</c:v>
                </c:pt>
                <c:pt idx="4452">
                  <c:v>60.75</c:v>
                </c:pt>
                <c:pt idx="4453">
                  <c:v>60.75</c:v>
                </c:pt>
                <c:pt idx="4454">
                  <c:v>61.37</c:v>
                </c:pt>
                <c:pt idx="4455">
                  <c:v>59.41</c:v>
                </c:pt>
                <c:pt idx="4456">
                  <c:v>60.54</c:v>
                </c:pt>
                <c:pt idx="4457">
                  <c:v>61.67</c:v>
                </c:pt>
                <c:pt idx="4458">
                  <c:v>61.63</c:v>
                </c:pt>
                <c:pt idx="4459">
                  <c:v>60.24</c:v>
                </c:pt>
                <c:pt idx="4460">
                  <c:v>60.14</c:v>
                </c:pt>
                <c:pt idx="4461">
                  <c:v>59.03</c:v>
                </c:pt>
                <c:pt idx="4462">
                  <c:v>60.31</c:v>
                </c:pt>
                <c:pt idx="4463">
                  <c:v>61.65</c:v>
                </c:pt>
                <c:pt idx="4464">
                  <c:v>61.73</c:v>
                </c:pt>
                <c:pt idx="4465">
                  <c:v>59.06</c:v>
                </c:pt>
                <c:pt idx="4466">
                  <c:v>57.19</c:v>
                </c:pt>
                <c:pt idx="4467">
                  <c:v>54.72</c:v>
                </c:pt>
                <c:pt idx="4468">
                  <c:v>55.7</c:v>
                </c:pt>
                <c:pt idx="4469">
                  <c:v>57.83</c:v>
                </c:pt>
                <c:pt idx="4470">
                  <c:v>57.72</c:v>
                </c:pt>
                <c:pt idx="4471">
                  <c:v>57.63</c:v>
                </c:pt>
                <c:pt idx="4472">
                  <c:v>57.2</c:v>
                </c:pt>
                <c:pt idx="4473">
                  <c:v>57.34</c:v>
                </c:pt>
                <c:pt idx="4474">
                  <c:v>57.31</c:v>
                </c:pt>
                <c:pt idx="4475">
                  <c:v>56.38</c:v>
                </c:pt>
                <c:pt idx="4476">
                  <c:v>56.42</c:v>
                </c:pt>
                <c:pt idx="4477">
                  <c:v>55.94</c:v>
                </c:pt>
                <c:pt idx="4478">
                  <c:v>56.36</c:v>
                </c:pt>
                <c:pt idx="4479">
                  <c:v>55.76</c:v>
                </c:pt>
                <c:pt idx="4480">
                  <c:v>54.29</c:v>
                </c:pt>
                <c:pt idx="4481">
                  <c:v>54.07</c:v>
                </c:pt>
                <c:pt idx="4482">
                  <c:v>54.3</c:v>
                </c:pt>
                <c:pt idx="4483">
                  <c:v>54.73</c:v>
                </c:pt>
                <c:pt idx="4484">
                  <c:v>54.29</c:v>
                </c:pt>
                <c:pt idx="4485">
                  <c:v>53.29</c:v>
                </c:pt>
                <c:pt idx="4486">
                  <c:v>49.49</c:v>
                </c:pt>
                <c:pt idx="4487">
                  <c:v>49.08</c:v>
                </c:pt>
                <c:pt idx="4488">
                  <c:v>49.04</c:v>
                </c:pt>
                <c:pt idx="4489">
                  <c:v>47.8</c:v>
                </c:pt>
                <c:pt idx="4490">
                  <c:v>47.54</c:v>
                </c:pt>
                <c:pt idx="4491">
                  <c:v>48.3</c:v>
                </c:pt>
                <c:pt idx="4492">
                  <c:v>47.33</c:v>
                </c:pt>
                <c:pt idx="4493">
                  <c:v>48.29</c:v>
                </c:pt>
                <c:pt idx="4494">
                  <c:v>48.01</c:v>
                </c:pt>
                <c:pt idx="4495">
                  <c:v>47.79</c:v>
                </c:pt>
                <c:pt idx="4496">
                  <c:v>47.77</c:v>
                </c:pt>
                <c:pt idx="4497">
                  <c:v>47</c:v>
                </c:pt>
                <c:pt idx="4498">
                  <c:v>45.75</c:v>
                </c:pt>
                <c:pt idx="4499">
                  <c:v>45.63</c:v>
                </c:pt>
                <c:pt idx="4500">
                  <c:v>43.84</c:v>
                </c:pt>
                <c:pt idx="4501">
                  <c:v>41.59</c:v>
                </c:pt>
                <c:pt idx="4502">
                  <c:v>41.86</c:v>
                </c:pt>
                <c:pt idx="4503">
                  <c:v>41.76</c:v>
                </c:pt>
                <c:pt idx="4504">
                  <c:v>44.46</c:v>
                </c:pt>
                <c:pt idx="4505">
                  <c:v>47.97</c:v>
                </c:pt>
                <c:pt idx="4507">
                  <c:v>48.8</c:v>
                </c:pt>
                <c:pt idx="4508">
                  <c:v>47.67</c:v>
                </c:pt>
                <c:pt idx="4509">
                  <c:v>50.41</c:v>
                </c:pt>
                <c:pt idx="4510">
                  <c:v>48.59</c:v>
                </c:pt>
                <c:pt idx="4511">
                  <c:v>46.42</c:v>
                </c:pt>
                <c:pt idx="4512">
                  <c:v>48.88</c:v>
                </c:pt>
                <c:pt idx="4513">
                  <c:v>48.04</c:v>
                </c:pt>
                <c:pt idx="4514">
                  <c:v>47.77</c:v>
                </c:pt>
                <c:pt idx="4515">
                  <c:v>46.87</c:v>
                </c:pt>
                <c:pt idx="4516">
                  <c:v>45.87</c:v>
                </c:pt>
                <c:pt idx="4517">
                  <c:v>45.91</c:v>
                </c:pt>
                <c:pt idx="4518">
                  <c:v>49.35</c:v>
                </c:pt>
                <c:pt idx="4519">
                  <c:v>48.27</c:v>
                </c:pt>
                <c:pt idx="4520">
                  <c:v>47.28</c:v>
                </c:pt>
                <c:pt idx="4521">
                  <c:v>47.64</c:v>
                </c:pt>
                <c:pt idx="4522">
                  <c:v>46.69</c:v>
                </c:pt>
                <c:pt idx="4523">
                  <c:v>48</c:v>
                </c:pt>
                <c:pt idx="4524">
                  <c:v>47.06</c:v>
                </c:pt>
                <c:pt idx="4525">
                  <c:v>47.28</c:v>
                </c:pt>
                <c:pt idx="4526">
                  <c:v>46.04</c:v>
                </c:pt>
                <c:pt idx="4527">
                  <c:v>47.58</c:v>
                </c:pt>
                <c:pt idx="4528">
                  <c:v>47.29</c:v>
                </c:pt>
                <c:pt idx="4529">
                  <c:v>47.48</c:v>
                </c:pt>
                <c:pt idx="4530">
                  <c:v>46.55</c:v>
                </c:pt>
                <c:pt idx="4531">
                  <c:v>49.45</c:v>
                </c:pt>
                <c:pt idx="4532">
                  <c:v>51.34</c:v>
                </c:pt>
                <c:pt idx="4533">
                  <c:v>51.66</c:v>
                </c:pt>
                <c:pt idx="4534">
                  <c:v>52.13</c:v>
                </c:pt>
                <c:pt idx="4535">
                  <c:v>52.08</c:v>
                </c:pt>
                <c:pt idx="4536">
                  <c:v>50.95</c:v>
                </c:pt>
                <c:pt idx="4537">
                  <c:v>48.94</c:v>
                </c:pt>
                <c:pt idx="4538">
                  <c:v>48.25</c:v>
                </c:pt>
                <c:pt idx="4539">
                  <c:v>47.87</c:v>
                </c:pt>
                <c:pt idx="4540">
                  <c:v>48.96</c:v>
                </c:pt>
                <c:pt idx="4541">
                  <c:v>47.51</c:v>
                </c:pt>
                <c:pt idx="4542">
                  <c:v>46.93</c:v>
                </c:pt>
                <c:pt idx="4543">
                  <c:v>46.72</c:v>
                </c:pt>
                <c:pt idx="4544">
                  <c:v>46.59</c:v>
                </c:pt>
                <c:pt idx="4545">
                  <c:v>46.3</c:v>
                </c:pt>
                <c:pt idx="4546">
                  <c:v>46.57</c:v>
                </c:pt>
                <c:pt idx="4547">
                  <c:v>45.54</c:v>
                </c:pt>
                <c:pt idx="4548">
                  <c:v>47.6</c:v>
                </c:pt>
                <c:pt idx="4549">
                  <c:v>48.04</c:v>
                </c:pt>
                <c:pt idx="4550">
                  <c:v>48</c:v>
                </c:pt>
                <c:pt idx="4551">
                  <c:v>47.91</c:v>
                </c:pt>
                <c:pt idx="4552">
                  <c:v>48</c:v>
                </c:pt>
                <c:pt idx="4553">
                  <c:v>46.96</c:v>
                </c:pt>
                <c:pt idx="4554">
                  <c:v>47.19</c:v>
                </c:pt>
                <c:pt idx="4555">
                  <c:v>46.09</c:v>
                </c:pt>
                <c:pt idx="4556">
                  <c:v>45.38</c:v>
                </c:pt>
                <c:pt idx="4557">
                  <c:v>46.44</c:v>
                </c:pt>
                <c:pt idx="4558">
                  <c:v>44.98</c:v>
                </c:pt>
                <c:pt idx="4559">
                  <c:v>44.98</c:v>
                </c:pt>
                <c:pt idx="4560">
                  <c:v>41.98</c:v>
                </c:pt>
                <c:pt idx="4561">
                  <c:v>40.28</c:v>
                </c:pt>
                <c:pt idx="4562">
                  <c:v>41.28</c:v>
                </c:pt>
                <c:pt idx="4563">
                  <c:v>41.45</c:v>
                </c:pt>
                <c:pt idx="4564">
                  <c:v>42.22</c:v>
                </c:pt>
                <c:pt idx="4565">
                  <c:v>42.49</c:v>
                </c:pt>
                <c:pt idx="4566">
                  <c:v>43.7</c:v>
                </c:pt>
                <c:pt idx="4567">
                  <c:v>44.38</c:v>
                </c:pt>
                <c:pt idx="4568">
                  <c:v>43.56</c:v>
                </c:pt>
                <c:pt idx="4569">
                  <c:v>43.55</c:v>
                </c:pt>
                <c:pt idx="4570">
                  <c:v>43.07</c:v>
                </c:pt>
                <c:pt idx="4571">
                  <c:v>43.73</c:v>
                </c:pt>
                <c:pt idx="4572">
                  <c:v>42.97</c:v>
                </c:pt>
                <c:pt idx="4573">
                  <c:v>41.92</c:v>
                </c:pt>
                <c:pt idx="4574">
                  <c:v>42</c:v>
                </c:pt>
                <c:pt idx="4575">
                  <c:v>41.44</c:v>
                </c:pt>
                <c:pt idx="4576">
                  <c:v>39.69</c:v>
                </c:pt>
                <c:pt idx="4577">
                  <c:v>39.44</c:v>
                </c:pt>
                <c:pt idx="4578">
                  <c:v>39.04</c:v>
                </c:pt>
                <c:pt idx="4579">
                  <c:v>38.65</c:v>
                </c:pt>
                <c:pt idx="4580">
                  <c:v>36.99</c:v>
                </c:pt>
                <c:pt idx="4581">
                  <c:v>36.51</c:v>
                </c:pt>
                <c:pt idx="4582">
                  <c:v>37.659999999999997</c:v>
                </c:pt>
                <c:pt idx="4583">
                  <c:v>36.96</c:v>
                </c:pt>
                <c:pt idx="4584">
                  <c:v>36.29</c:v>
                </c:pt>
                <c:pt idx="4585">
                  <c:v>36.76</c:v>
                </c:pt>
                <c:pt idx="4586">
                  <c:v>35.340000000000003</c:v>
                </c:pt>
                <c:pt idx="4587">
                  <c:v>35.26</c:v>
                </c:pt>
                <c:pt idx="4588">
                  <c:v>35.79</c:v>
                </c:pt>
                <c:pt idx="4589">
                  <c:v>37.22</c:v>
                </c:pt>
                <c:pt idx="4590">
                  <c:v>37.08</c:v>
                </c:pt>
                <c:pt idx="4591">
                  <c:v>36.85</c:v>
                </c:pt>
                <c:pt idx="4592">
                  <c:v>35.65</c:v>
                </c:pt>
                <c:pt idx="4593">
                  <c:v>36.61</c:v>
                </c:pt>
                <c:pt idx="4594">
                  <c:v>36.28</c:v>
                </c:pt>
                <c:pt idx="4595">
                  <c:v>35.56</c:v>
                </c:pt>
                <c:pt idx="4596">
                  <c:v>33.89</c:v>
                </c:pt>
                <c:pt idx="4597">
                  <c:v>33.57</c:v>
                </c:pt>
                <c:pt idx="4598">
                  <c:v>31.67</c:v>
                </c:pt>
                <c:pt idx="4599">
                  <c:v>30.14</c:v>
                </c:pt>
                <c:pt idx="4600">
                  <c:v>29.14</c:v>
                </c:pt>
                <c:pt idx="4601">
                  <c:v>28.58</c:v>
                </c:pt>
                <c:pt idx="4602">
                  <c:v>28.84</c:v>
                </c:pt>
                <c:pt idx="4603">
                  <c:v>28.8</c:v>
                </c:pt>
                <c:pt idx="4604">
                  <c:v>27.36</c:v>
                </c:pt>
                <c:pt idx="4605">
                  <c:v>27.36</c:v>
                </c:pt>
                <c:pt idx="4606">
                  <c:v>26.01</c:v>
                </c:pt>
                <c:pt idx="4607">
                  <c:v>27.59</c:v>
                </c:pt>
                <c:pt idx="4608">
                  <c:v>30.46</c:v>
                </c:pt>
                <c:pt idx="4609">
                  <c:v>29.82</c:v>
                </c:pt>
                <c:pt idx="4610">
                  <c:v>30.94</c:v>
                </c:pt>
                <c:pt idx="4611">
                  <c:v>31.83</c:v>
                </c:pt>
                <c:pt idx="4612">
                  <c:v>33.01</c:v>
                </c:pt>
                <c:pt idx="4613">
                  <c:v>33.14</c:v>
                </c:pt>
                <c:pt idx="4614">
                  <c:v>32.450000000000003</c:v>
                </c:pt>
                <c:pt idx="4615">
                  <c:v>30.98</c:v>
                </c:pt>
                <c:pt idx="4616">
                  <c:v>32.380000000000003</c:v>
                </c:pt>
                <c:pt idx="4617">
                  <c:v>32.76</c:v>
                </c:pt>
                <c:pt idx="4618">
                  <c:v>32.35</c:v>
                </c:pt>
                <c:pt idx="4619">
                  <c:v>31.64</c:v>
                </c:pt>
                <c:pt idx="4620">
                  <c:v>30.15</c:v>
                </c:pt>
                <c:pt idx="4621">
                  <c:v>29.64</c:v>
                </c:pt>
                <c:pt idx="4622">
                  <c:v>28.82</c:v>
                </c:pt>
                <c:pt idx="4623">
                  <c:v>31.8</c:v>
                </c:pt>
                <c:pt idx="4624">
                  <c:v>31.09</c:v>
                </c:pt>
                <c:pt idx="4625">
                  <c:v>33.21</c:v>
                </c:pt>
                <c:pt idx="4626">
                  <c:v>33.200000000000003</c:v>
                </c:pt>
                <c:pt idx="4627">
                  <c:v>31.66</c:v>
                </c:pt>
                <c:pt idx="4628">
                  <c:v>33.590000000000003</c:v>
                </c:pt>
                <c:pt idx="4629">
                  <c:v>31.9</c:v>
                </c:pt>
                <c:pt idx="4630">
                  <c:v>31.5</c:v>
                </c:pt>
                <c:pt idx="4631">
                  <c:v>32.83</c:v>
                </c:pt>
                <c:pt idx="4632">
                  <c:v>35.76</c:v>
                </c:pt>
                <c:pt idx="4633">
                  <c:v>35.92</c:v>
                </c:pt>
                <c:pt idx="4634">
                  <c:v>35.729999999999997</c:v>
                </c:pt>
                <c:pt idx="4635">
                  <c:v>36.380000000000003</c:v>
                </c:pt>
                <c:pt idx="4636">
                  <c:v>35.75</c:v>
                </c:pt>
                <c:pt idx="4637">
                  <c:v>37.61</c:v>
                </c:pt>
                <c:pt idx="4638">
                  <c:v>39.020000000000003</c:v>
                </c:pt>
                <c:pt idx="4639">
                  <c:v>39.159999999999997</c:v>
                </c:pt>
                <c:pt idx="4640">
                  <c:v>40.26</c:v>
                </c:pt>
                <c:pt idx="4641">
                  <c:v>38.630000000000003</c:v>
                </c:pt>
                <c:pt idx="4642">
                  <c:v>39.409999999999997</c:v>
                </c:pt>
                <c:pt idx="4643">
                  <c:v>38.06</c:v>
                </c:pt>
                <c:pt idx="4644">
                  <c:v>37.49</c:v>
                </c:pt>
                <c:pt idx="4645">
                  <c:v>38.380000000000003</c:v>
                </c:pt>
                <c:pt idx="4646">
                  <c:v>39.29</c:v>
                </c:pt>
                <c:pt idx="4647">
                  <c:v>39.26</c:v>
                </c:pt>
                <c:pt idx="4648">
                  <c:v>39.909999999999997</c:v>
                </c:pt>
                <c:pt idx="4649">
                  <c:v>40.54</c:v>
                </c:pt>
                <c:pt idx="4650">
                  <c:v>38.840000000000003</c:v>
                </c:pt>
                <c:pt idx="4651">
                  <c:v>38.33</c:v>
                </c:pt>
                <c:pt idx="4652">
                  <c:v>38.33</c:v>
                </c:pt>
                <c:pt idx="4653">
                  <c:v>36.75</c:v>
                </c:pt>
                <c:pt idx="4654">
                  <c:v>36.75</c:v>
                </c:pt>
                <c:pt idx="4655">
                  <c:v>36.75</c:v>
                </c:pt>
                <c:pt idx="4656">
                  <c:v>36.42</c:v>
                </c:pt>
                <c:pt idx="4657">
                  <c:v>36.049999999999997</c:v>
                </c:pt>
                <c:pt idx="4658">
                  <c:v>35.880000000000003</c:v>
                </c:pt>
                <c:pt idx="4659">
                  <c:v>37.770000000000003</c:v>
                </c:pt>
                <c:pt idx="4660">
                  <c:v>37.15</c:v>
                </c:pt>
                <c:pt idx="4661">
                  <c:v>40.71</c:v>
                </c:pt>
                <c:pt idx="4662">
                  <c:v>41.58</c:v>
                </c:pt>
                <c:pt idx="4663">
                  <c:v>43.02</c:v>
                </c:pt>
                <c:pt idx="4664">
                  <c:v>42.81</c:v>
                </c:pt>
                <c:pt idx="4665">
                  <c:v>43.02</c:v>
                </c:pt>
                <c:pt idx="4666">
                  <c:v>41.32</c:v>
                </c:pt>
                <c:pt idx="4667">
                  <c:v>41.64</c:v>
                </c:pt>
                <c:pt idx="4668">
                  <c:v>43.02</c:v>
                </c:pt>
                <c:pt idx="4669">
                  <c:v>43.09</c:v>
                </c:pt>
                <c:pt idx="4670">
                  <c:v>43.48</c:v>
                </c:pt>
                <c:pt idx="4671">
                  <c:v>43.97</c:v>
                </c:pt>
                <c:pt idx="4672">
                  <c:v>42.97</c:v>
                </c:pt>
                <c:pt idx="4673">
                  <c:v>43.94</c:v>
                </c:pt>
                <c:pt idx="4674">
                  <c:v>44.17</c:v>
                </c:pt>
                <c:pt idx="4675">
                  <c:v>45.6</c:v>
                </c:pt>
                <c:pt idx="4676">
                  <c:v>45.64</c:v>
                </c:pt>
                <c:pt idx="4677">
                  <c:v>45.82</c:v>
                </c:pt>
                <c:pt idx="4678">
                  <c:v>43.09</c:v>
                </c:pt>
                <c:pt idx="4679">
                  <c:v>43.08</c:v>
                </c:pt>
                <c:pt idx="4680">
                  <c:v>44.39</c:v>
                </c:pt>
                <c:pt idx="4681">
                  <c:v>44.6</c:v>
                </c:pt>
                <c:pt idx="4682">
                  <c:v>42.43</c:v>
                </c:pt>
                <c:pt idx="4683">
                  <c:v>44.01</c:v>
                </c:pt>
                <c:pt idx="4684">
                  <c:v>46.08</c:v>
                </c:pt>
                <c:pt idx="4685">
                  <c:v>46.43</c:v>
                </c:pt>
                <c:pt idx="4686">
                  <c:v>47.05</c:v>
                </c:pt>
                <c:pt idx="4687">
                  <c:v>48.49</c:v>
                </c:pt>
                <c:pt idx="4688">
                  <c:v>48.71</c:v>
                </c:pt>
                <c:pt idx="4689">
                  <c:v>48.93</c:v>
                </c:pt>
                <c:pt idx="4690">
                  <c:v>47.01</c:v>
                </c:pt>
                <c:pt idx="4691">
                  <c:v>48.54</c:v>
                </c:pt>
                <c:pt idx="4692">
                  <c:v>47.77</c:v>
                </c:pt>
                <c:pt idx="4693">
                  <c:v>48.42</c:v>
                </c:pt>
                <c:pt idx="4694">
                  <c:v>48.87</c:v>
                </c:pt>
                <c:pt idx="4695">
                  <c:v>49.52</c:v>
                </c:pt>
                <c:pt idx="4696">
                  <c:v>49.09</c:v>
                </c:pt>
                <c:pt idx="4697">
                  <c:v>49.26</c:v>
                </c:pt>
                <c:pt idx="4698">
                  <c:v>48.81</c:v>
                </c:pt>
                <c:pt idx="4699">
                  <c:v>49.05</c:v>
                </c:pt>
                <c:pt idx="4700">
                  <c:v>48.5</c:v>
                </c:pt>
                <c:pt idx="4701">
                  <c:v>48.94</c:v>
                </c:pt>
                <c:pt idx="4702">
                  <c:v>49.76</c:v>
                </c:pt>
                <c:pt idx="4703">
                  <c:v>50.73</c:v>
                </c:pt>
                <c:pt idx="4704">
                  <c:v>50.59</c:v>
                </c:pt>
                <c:pt idx="4705">
                  <c:v>49.7</c:v>
                </c:pt>
                <c:pt idx="4706">
                  <c:v>49.36</c:v>
                </c:pt>
                <c:pt idx="4707">
                  <c:v>47.88</c:v>
                </c:pt>
                <c:pt idx="4708">
                  <c:v>47.47</c:v>
                </c:pt>
                <c:pt idx="4709">
                  <c:v>45.66</c:v>
                </c:pt>
                <c:pt idx="4710">
                  <c:v>46.57</c:v>
                </c:pt>
                <c:pt idx="4711">
                  <c:v>48.68</c:v>
                </c:pt>
                <c:pt idx="4712">
                  <c:v>48.18</c:v>
                </c:pt>
                <c:pt idx="4713">
                  <c:v>48.43</c:v>
                </c:pt>
                <c:pt idx="4714">
                  <c:v>48.63</c:v>
                </c:pt>
                <c:pt idx="4715">
                  <c:v>46.69</c:v>
                </c:pt>
                <c:pt idx="4716">
                  <c:v>45.07</c:v>
                </c:pt>
                <c:pt idx="4717">
                  <c:v>46.29</c:v>
                </c:pt>
                <c:pt idx="4718">
                  <c:v>48.4</c:v>
                </c:pt>
                <c:pt idx="4719">
                  <c:v>48.05</c:v>
                </c:pt>
                <c:pt idx="4720">
                  <c:v>47.65</c:v>
                </c:pt>
                <c:pt idx="4721">
                  <c:v>48.02</c:v>
                </c:pt>
                <c:pt idx="4722">
                  <c:v>45.64</c:v>
                </c:pt>
                <c:pt idx="4723">
                  <c:v>45.7</c:v>
                </c:pt>
                <c:pt idx="4724">
                  <c:v>45.93</c:v>
                </c:pt>
                <c:pt idx="4725">
                  <c:v>44.53</c:v>
                </c:pt>
                <c:pt idx="4726">
                  <c:v>44.04</c:v>
                </c:pt>
                <c:pt idx="4727">
                  <c:v>46.72</c:v>
                </c:pt>
                <c:pt idx="4728">
                  <c:v>44.67</c:v>
                </c:pt>
                <c:pt idx="4729">
                  <c:v>46.01</c:v>
                </c:pt>
                <c:pt idx="4730">
                  <c:v>46.25</c:v>
                </c:pt>
                <c:pt idx="4731">
                  <c:v>45.35</c:v>
                </c:pt>
                <c:pt idx="4732">
                  <c:v>45.7</c:v>
                </c:pt>
                <c:pt idx="4733">
                  <c:v>45.82</c:v>
                </c:pt>
                <c:pt idx="4734">
                  <c:v>44.99</c:v>
                </c:pt>
                <c:pt idx="4735">
                  <c:v>44.24</c:v>
                </c:pt>
                <c:pt idx="4736">
                  <c:v>43.76</c:v>
                </c:pt>
                <c:pt idx="4737">
                  <c:v>43.56</c:v>
                </c:pt>
                <c:pt idx="4738">
                  <c:v>42.78</c:v>
                </c:pt>
                <c:pt idx="4739">
                  <c:v>41.87</c:v>
                </c:pt>
                <c:pt idx="4740">
                  <c:v>40.76</c:v>
                </c:pt>
                <c:pt idx="4741">
                  <c:v>40.17</c:v>
                </c:pt>
                <c:pt idx="4742">
                  <c:v>40</c:v>
                </c:pt>
                <c:pt idx="4743">
                  <c:v>40.450000000000003</c:v>
                </c:pt>
                <c:pt idx="4744">
                  <c:v>41.33</c:v>
                </c:pt>
                <c:pt idx="4745">
                  <c:v>42.47</c:v>
                </c:pt>
                <c:pt idx="4746">
                  <c:v>43.24</c:v>
                </c:pt>
                <c:pt idx="4747">
                  <c:v>43.37</c:v>
                </c:pt>
                <c:pt idx="4748">
                  <c:v>42.19</c:v>
                </c:pt>
                <c:pt idx="4749">
                  <c:v>44.23</c:v>
                </c:pt>
                <c:pt idx="4750">
                  <c:v>45.12</c:v>
                </c:pt>
                <c:pt idx="4751">
                  <c:v>47.31</c:v>
                </c:pt>
                <c:pt idx="4752">
                  <c:v>48.27</c:v>
                </c:pt>
                <c:pt idx="4753">
                  <c:v>48.58</c:v>
                </c:pt>
                <c:pt idx="4754">
                  <c:v>49.46</c:v>
                </c:pt>
                <c:pt idx="4755">
                  <c:v>49.39</c:v>
                </c:pt>
                <c:pt idx="4756">
                  <c:v>48.1</c:v>
                </c:pt>
                <c:pt idx="4757">
                  <c:v>48.7</c:v>
                </c:pt>
                <c:pt idx="4758">
                  <c:v>47.56</c:v>
                </c:pt>
                <c:pt idx="4759">
                  <c:v>49.25</c:v>
                </c:pt>
                <c:pt idx="4760">
                  <c:v>49.66</c:v>
                </c:pt>
                <c:pt idx="4761">
                  <c:v>49.66</c:v>
                </c:pt>
                <c:pt idx="4762">
                  <c:v>47.94</c:v>
                </c:pt>
                <c:pt idx="4763">
                  <c:v>47.94</c:v>
                </c:pt>
                <c:pt idx="4764">
                  <c:v>45.05</c:v>
                </c:pt>
                <c:pt idx="4765">
                  <c:v>45.96</c:v>
                </c:pt>
                <c:pt idx="4766">
                  <c:v>46.72</c:v>
                </c:pt>
                <c:pt idx="4767">
                  <c:v>46.21</c:v>
                </c:pt>
                <c:pt idx="4768">
                  <c:v>47</c:v>
                </c:pt>
                <c:pt idx="4769">
                  <c:v>49.23</c:v>
                </c:pt>
                <c:pt idx="4770">
                  <c:v>48.37</c:v>
                </c:pt>
                <c:pt idx="4771">
                  <c:v>47.82</c:v>
                </c:pt>
                <c:pt idx="4772">
                  <c:v>46.48</c:v>
                </c:pt>
                <c:pt idx="4773">
                  <c:v>45.65</c:v>
                </c:pt>
                <c:pt idx="4774">
                  <c:v>45.83</c:v>
                </c:pt>
                <c:pt idx="4775">
                  <c:v>45.26</c:v>
                </c:pt>
                <c:pt idx="4776">
                  <c:v>46.04</c:v>
                </c:pt>
                <c:pt idx="4777">
                  <c:v>45.24</c:v>
                </c:pt>
                <c:pt idx="4778">
                  <c:v>45.99</c:v>
                </c:pt>
                <c:pt idx="4779">
                  <c:v>47.21</c:v>
                </c:pt>
                <c:pt idx="4780">
                  <c:v>46.71</c:v>
                </c:pt>
                <c:pt idx="4781">
                  <c:v>46.61</c:v>
                </c:pt>
              </c:numCache>
            </c:numRef>
          </c:val>
          <c:smooth val="0"/>
        </c:ser>
        <c:dLbls>
          <c:showLegendKey val="0"/>
          <c:showVal val="0"/>
          <c:showCatName val="0"/>
          <c:showSerName val="0"/>
          <c:showPercent val="0"/>
          <c:showBubbleSize val="0"/>
        </c:dLbls>
        <c:marker val="1"/>
        <c:smooth val="0"/>
        <c:axId val="139255808"/>
        <c:axId val="92778432"/>
      </c:lineChart>
      <c:dateAx>
        <c:axId val="139255808"/>
        <c:scaling>
          <c:orientation val="minMax"/>
        </c:scaling>
        <c:delete val="0"/>
        <c:axPos val="b"/>
        <c:numFmt formatCode="mmm\ dd\,\ yyyy" sourceLinked="0"/>
        <c:majorTickMark val="out"/>
        <c:minorTickMark val="none"/>
        <c:tickLblPos val="nextTo"/>
        <c:crossAx val="92778432"/>
        <c:crosses val="autoZero"/>
        <c:auto val="1"/>
        <c:lblOffset val="100"/>
        <c:baseTimeUnit val="days"/>
      </c:dateAx>
      <c:valAx>
        <c:axId val="92778432"/>
        <c:scaling>
          <c:orientation val="minMax"/>
        </c:scaling>
        <c:delete val="0"/>
        <c:axPos val="l"/>
        <c:majorGridlines/>
        <c:numFmt formatCode="General" sourceLinked="1"/>
        <c:majorTickMark val="out"/>
        <c:minorTickMark val="none"/>
        <c:tickLblPos val="nextTo"/>
        <c:txPr>
          <a:bodyPr/>
          <a:lstStyle/>
          <a:p>
            <a:pPr>
              <a:defRPr sz="1200" b="1"/>
            </a:pPr>
            <a:endParaRPr lang="pt-BR"/>
          </a:p>
        </c:txPr>
        <c:crossAx val="139255808"/>
        <c:crosses val="autoZero"/>
        <c:crossBetween val="between"/>
      </c:valAx>
    </c:plotArea>
    <c:legend>
      <c:legendPos val="r"/>
      <c:layout>
        <c:manualLayout>
          <c:xMode val="edge"/>
          <c:yMode val="edge"/>
          <c:x val="0.22379125237082592"/>
          <c:y val="0.87347620917464064"/>
          <c:w val="0.43287024158476534"/>
          <c:h val="0.10083176610797662"/>
        </c:manualLayout>
      </c:layout>
      <c:overlay val="0"/>
      <c:txPr>
        <a:bodyPr/>
        <a:lstStyle/>
        <a:p>
          <a:pPr>
            <a:defRPr sz="1800" b="1"/>
          </a:pPr>
          <a:endParaRPr lang="pt-BR"/>
        </a:p>
      </c:txPr>
    </c:legend>
    <c:plotVisOnly val="1"/>
    <c:dispBlanksAs val="gap"/>
    <c:showDLblsOverMax val="0"/>
  </c:chart>
  <c:externalData r:id="rId2">
    <c:autoUpdate val="0"/>
  </c:externalData>
  <c:userShapes r:id="rId3"/>
</c:chartSpace>
</file>

<file path=ppt/charts/chart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Plan1!$B$28</c:f>
              <c:strCache>
                <c:ptCount val="1"/>
                <c:pt idx="0">
                  <c:v>Participações Especiais - total</c:v>
                </c:pt>
              </c:strCache>
            </c:strRef>
          </c:tx>
          <c:spPr>
            <a:solidFill>
              <a:schemeClr val="tx2">
                <a:lumMod val="75000"/>
              </a:schemeClr>
            </a:solidFill>
            <a:ln w="19050"/>
          </c:spPr>
          <c:invertIfNegative val="0"/>
          <c:cat>
            <c:strRef>
              <c:f>Plan1!$H$18:$S$18</c:f>
              <c:strCache>
                <c:ptCount val="12"/>
                <c:pt idx="0">
                  <c:v>2005</c:v>
                </c:pt>
                <c:pt idx="1">
                  <c:v>2006</c:v>
                </c:pt>
                <c:pt idx="2">
                  <c:v>2007</c:v>
                </c:pt>
                <c:pt idx="3">
                  <c:v>2008</c:v>
                </c:pt>
                <c:pt idx="4">
                  <c:v>2009</c:v>
                </c:pt>
                <c:pt idx="5">
                  <c:v>2010</c:v>
                </c:pt>
                <c:pt idx="6">
                  <c:v>2011</c:v>
                </c:pt>
                <c:pt idx="7">
                  <c:v>2012</c:v>
                </c:pt>
                <c:pt idx="8">
                  <c:v>2013</c:v>
                </c:pt>
                <c:pt idx="9">
                  <c:v>2014</c:v>
                </c:pt>
                <c:pt idx="10">
                  <c:v>2015</c:v>
                </c:pt>
                <c:pt idx="11">
                  <c:v>2016*</c:v>
                </c:pt>
              </c:strCache>
            </c:strRef>
          </c:cat>
          <c:val>
            <c:numRef>
              <c:f>Plan1!$H$28:$S$28</c:f>
              <c:numCache>
                <c:formatCode>_-* #,##0.0_-;\-* #,##0.0_-;_-* "-"??_-;_-@_-</c:formatCode>
                <c:ptCount val="12"/>
                <c:pt idx="0">
                  <c:v>6965128.5</c:v>
                </c:pt>
                <c:pt idx="1">
                  <c:v>8839990.8000000007</c:v>
                </c:pt>
                <c:pt idx="2">
                  <c:v>7177533</c:v>
                </c:pt>
                <c:pt idx="3">
                  <c:v>11710789.300000001</c:v>
                </c:pt>
                <c:pt idx="4">
                  <c:v>8452809.8000000007</c:v>
                </c:pt>
                <c:pt idx="5">
                  <c:v>11670011</c:v>
                </c:pt>
                <c:pt idx="6">
                  <c:v>12641524.899999999</c:v>
                </c:pt>
                <c:pt idx="7">
                  <c:v>15855172.300000001</c:v>
                </c:pt>
                <c:pt idx="8">
                  <c:v>15497184.800000001</c:v>
                </c:pt>
                <c:pt idx="9">
                  <c:v>16827524.449999999</c:v>
                </c:pt>
                <c:pt idx="10">
                  <c:v>10656349.300000001</c:v>
                </c:pt>
                <c:pt idx="11">
                  <c:v>4975369.2</c:v>
                </c:pt>
              </c:numCache>
            </c:numRef>
          </c:val>
        </c:ser>
        <c:ser>
          <c:idx val="1"/>
          <c:order val="1"/>
          <c:tx>
            <c:strRef>
              <c:f>Plan1!$B$23</c:f>
              <c:strCache>
                <c:ptCount val="1"/>
                <c:pt idx="0">
                  <c:v>Royalties - total</c:v>
                </c:pt>
              </c:strCache>
            </c:strRef>
          </c:tx>
          <c:spPr>
            <a:solidFill>
              <a:srgbClr val="FF9900"/>
            </a:solidFill>
          </c:spPr>
          <c:invertIfNegative val="0"/>
          <c:val>
            <c:numRef>
              <c:f>Plan1!$H$23:$S$23</c:f>
              <c:numCache>
                <c:formatCode>_-* #,##0.0_-;\-* #,##0.0_-;_-* "-"??_-;_-@_-</c:formatCode>
                <c:ptCount val="12"/>
                <c:pt idx="0">
                  <c:v>5794933.1999999993</c:v>
                </c:pt>
                <c:pt idx="1">
                  <c:v>7115506.3000000007</c:v>
                </c:pt>
                <c:pt idx="2">
                  <c:v>6905987.0999999996</c:v>
                </c:pt>
                <c:pt idx="3">
                  <c:v>10054069.550000001</c:v>
                </c:pt>
                <c:pt idx="4">
                  <c:v>7328572.3900000006</c:v>
                </c:pt>
                <c:pt idx="5">
                  <c:v>9106169.3499999996</c:v>
                </c:pt>
                <c:pt idx="6">
                  <c:v>11889077.120000001</c:v>
                </c:pt>
                <c:pt idx="7">
                  <c:v>14335243.25</c:v>
                </c:pt>
                <c:pt idx="8">
                  <c:v>14976190.289999999</c:v>
                </c:pt>
                <c:pt idx="9">
                  <c:v>16977115.960000001</c:v>
                </c:pt>
                <c:pt idx="10">
                  <c:v>12669501.199999999</c:v>
                </c:pt>
                <c:pt idx="11">
                  <c:v>6704567.1899999995</c:v>
                </c:pt>
              </c:numCache>
            </c:numRef>
          </c:val>
        </c:ser>
        <c:dLbls>
          <c:showLegendKey val="0"/>
          <c:showVal val="0"/>
          <c:showCatName val="0"/>
          <c:showSerName val="0"/>
          <c:showPercent val="0"/>
          <c:showBubbleSize val="0"/>
        </c:dLbls>
        <c:gapWidth val="150"/>
        <c:axId val="145118208"/>
        <c:axId val="130482752"/>
      </c:barChart>
      <c:lineChart>
        <c:grouping val="standard"/>
        <c:varyColors val="0"/>
        <c:ser>
          <c:idx val="2"/>
          <c:order val="2"/>
          <c:tx>
            <c:strRef>
              <c:f>Plan1!$B$20</c:f>
              <c:strCache>
                <c:ptCount val="1"/>
                <c:pt idx="0">
                  <c:v>MCTI</c:v>
                </c:pt>
              </c:strCache>
            </c:strRef>
          </c:tx>
          <c:spPr>
            <a:ln w="38100">
              <a:solidFill>
                <a:srgbClr val="00B0F0"/>
              </a:solidFill>
            </a:ln>
          </c:spPr>
          <c:marker>
            <c:symbol val="none"/>
          </c:marker>
          <c:val>
            <c:numRef>
              <c:f>Plan1!$H$20:$S$20</c:f>
              <c:numCache>
                <c:formatCode>_-* #,##0.0_-;\-* #,##0.0_-;_-* "-"??_-;_-@_-</c:formatCode>
                <c:ptCount val="12"/>
                <c:pt idx="0">
                  <c:v>770013.3</c:v>
                </c:pt>
                <c:pt idx="1">
                  <c:v>946651.2</c:v>
                </c:pt>
                <c:pt idx="2">
                  <c:v>920550.2</c:v>
                </c:pt>
                <c:pt idx="3">
                  <c:v>1346264.59</c:v>
                </c:pt>
                <c:pt idx="4">
                  <c:v>984474.84</c:v>
                </c:pt>
                <c:pt idx="5">
                  <c:v>1227416.19</c:v>
                </c:pt>
                <c:pt idx="6">
                  <c:v>1606835.17</c:v>
                </c:pt>
                <c:pt idx="7">
                  <c:v>1800729.51</c:v>
                </c:pt>
                <c:pt idx="8">
                  <c:v>1786001.86</c:v>
                </c:pt>
                <c:pt idx="9">
                  <c:v>1625591.21</c:v>
                </c:pt>
                <c:pt idx="10">
                  <c:v>1048084.93</c:v>
                </c:pt>
                <c:pt idx="11">
                  <c:v>488125.03</c:v>
                </c:pt>
              </c:numCache>
            </c:numRef>
          </c:val>
          <c:smooth val="0"/>
        </c:ser>
        <c:ser>
          <c:idx val="3"/>
          <c:order val="3"/>
          <c:tx>
            <c:strRef>
              <c:f>Plan1!$B$29</c:f>
              <c:strCache>
                <c:ptCount val="1"/>
                <c:pt idx="0">
                  <c:v>P,D&amp;I Óleo&amp;Gás (1º sem 2016)</c:v>
                </c:pt>
              </c:strCache>
            </c:strRef>
          </c:tx>
          <c:spPr>
            <a:ln w="38100">
              <a:solidFill>
                <a:srgbClr val="7030A0"/>
              </a:solidFill>
            </a:ln>
          </c:spPr>
          <c:marker>
            <c:symbol val="none"/>
          </c:marker>
          <c:val>
            <c:numRef>
              <c:f>Plan1!$H$29:$S$29</c:f>
              <c:numCache>
                <c:formatCode>_-* #,##0.0_-;\-* #,##0.0_-;_-* "-"??_-;_-@_-</c:formatCode>
                <c:ptCount val="12"/>
                <c:pt idx="0">
                  <c:v>508808.45400000003</c:v>
                </c:pt>
                <c:pt idx="1">
                  <c:v>616389.33600000001</c:v>
                </c:pt>
                <c:pt idx="2">
                  <c:v>616503.26599999995</c:v>
                </c:pt>
                <c:pt idx="3">
                  <c:v>860858.23300000001</c:v>
                </c:pt>
                <c:pt idx="4">
                  <c:v>638882.28399999999</c:v>
                </c:pt>
                <c:pt idx="5">
                  <c:v>746917.02</c:v>
                </c:pt>
                <c:pt idx="6">
                  <c:v>1031896.895</c:v>
                </c:pt>
                <c:pt idx="7">
                  <c:v>1226686.6910000001</c:v>
                </c:pt>
                <c:pt idx="8">
                  <c:v>1259866.956</c:v>
                </c:pt>
                <c:pt idx="9">
                  <c:v>1407565.2309999999</c:v>
                </c:pt>
                <c:pt idx="10">
                  <c:v>1030956.397</c:v>
                </c:pt>
                <c:pt idx="11">
                  <c:v>331139.15899999999</c:v>
                </c:pt>
              </c:numCache>
            </c:numRef>
          </c:val>
          <c:smooth val="0"/>
        </c:ser>
        <c:dLbls>
          <c:showLegendKey val="0"/>
          <c:showVal val="0"/>
          <c:showCatName val="0"/>
          <c:showSerName val="0"/>
          <c:showPercent val="0"/>
          <c:showBubbleSize val="0"/>
        </c:dLbls>
        <c:marker val="1"/>
        <c:smooth val="0"/>
        <c:axId val="145118208"/>
        <c:axId val="130482752"/>
      </c:lineChart>
      <c:catAx>
        <c:axId val="145118208"/>
        <c:scaling>
          <c:orientation val="minMax"/>
        </c:scaling>
        <c:delete val="0"/>
        <c:axPos val="b"/>
        <c:majorTickMark val="none"/>
        <c:minorTickMark val="none"/>
        <c:tickLblPos val="nextTo"/>
        <c:crossAx val="130482752"/>
        <c:crosses val="autoZero"/>
        <c:auto val="1"/>
        <c:lblAlgn val="ctr"/>
        <c:lblOffset val="100"/>
        <c:noMultiLvlLbl val="0"/>
      </c:catAx>
      <c:valAx>
        <c:axId val="130482752"/>
        <c:scaling>
          <c:orientation val="minMax"/>
        </c:scaling>
        <c:delete val="0"/>
        <c:axPos val="l"/>
        <c:majorGridlines/>
        <c:numFmt formatCode="_-* #,##0.0_-;\-* #,##0.0_-;_-* &quot;-&quot;??_-;_-@_-" sourceLinked="1"/>
        <c:majorTickMark val="none"/>
        <c:minorTickMark val="none"/>
        <c:tickLblPos val="nextTo"/>
        <c:txPr>
          <a:bodyPr/>
          <a:lstStyle/>
          <a:p>
            <a:pPr>
              <a:defRPr sz="1600" b="1"/>
            </a:pPr>
            <a:endParaRPr lang="pt-BR"/>
          </a:p>
        </c:txPr>
        <c:crossAx val="145118208"/>
        <c:crosses val="autoZero"/>
        <c:crossBetween val="between"/>
        <c:dispUnits>
          <c:builtInUnit val="millions"/>
          <c:dispUnitsLbl>
            <c:layout>
              <c:manualLayout>
                <c:xMode val="edge"/>
                <c:yMode val="edge"/>
                <c:x val="0.11193654176757692"/>
                <c:y val="0.19745455633134779"/>
              </c:manualLayout>
            </c:layout>
            <c:tx>
              <c:rich>
                <a:bodyPr/>
                <a:lstStyle/>
                <a:p>
                  <a:pPr>
                    <a:defRPr sz="2000"/>
                  </a:pPr>
                  <a:r>
                    <a:rPr lang="pt-BR" sz="2000"/>
                    <a:t>Bilhões R$</a:t>
                  </a:r>
                </a:p>
              </c:rich>
            </c:tx>
          </c:dispUnitsLbl>
        </c:dispUnits>
      </c:valAx>
      <c:dTable>
        <c:showHorzBorder val="1"/>
        <c:showVertBorder val="1"/>
        <c:showOutline val="1"/>
        <c:showKeys val="1"/>
      </c:dTable>
    </c:plotArea>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80233</cdr:x>
      <cdr:y>0.09546</cdr:y>
    </cdr:from>
    <cdr:to>
      <cdr:x>0.91877</cdr:x>
      <cdr:y>0.1957</cdr:y>
    </cdr:to>
    <cdr:sp macro="" textlink="">
      <cdr:nvSpPr>
        <cdr:cNvPr id="2" name="Texto explicativo retangular 1"/>
        <cdr:cNvSpPr/>
      </cdr:nvSpPr>
      <cdr:spPr bwMode="auto">
        <a:xfrm xmlns:a="http://schemas.openxmlformats.org/drawingml/2006/main">
          <a:off x="5494763" y="380984"/>
          <a:ext cx="797436" cy="400055"/>
        </a:xfrm>
        <a:prstGeom xmlns:a="http://schemas.openxmlformats.org/drawingml/2006/main" prst="wedgeRectCallout">
          <a:avLst>
            <a:gd name="adj1" fmla="val 100691"/>
            <a:gd name="adj2" fmla="val 52976"/>
          </a:avLst>
        </a:prstGeom>
        <a:solidFill xmlns:a="http://schemas.openxmlformats.org/drawingml/2006/main">
          <a:srgbClr val="FFFFFF"/>
        </a:solidFill>
        <a:ln xmlns:a="http://schemas.openxmlformats.org/drawingml/2006/main" w="9525" cap="flat" cmpd="sng" algn="ctr">
          <a:solidFill>
            <a:srgbClr val="000000"/>
          </a:solidFill>
          <a:prstDash val="solid"/>
          <a:round/>
          <a:headEnd type="none" w="med" len="med"/>
          <a:tailEnd type="none" w="med" len="med"/>
        </a:ln>
        <a:effectLst xmlns:a="http://schemas.openxmlformats.org/drawingml/2006/main"/>
      </cdr:spPr>
      <cdr:txBody>
        <a:bodyPr xmlns:a="http://schemas.openxmlformats.org/drawingml/2006/main" vertOverflow="clip" wrap="square" lIns="18288" tIns="0" rIns="0" bIns="0" anchor="ctr" upright="1"/>
        <a:lstStyle xmlns:a="http://schemas.openxmlformats.org/drawingml/2006/main"/>
        <a:p xmlns:a="http://schemas.openxmlformats.org/drawingml/2006/main">
          <a:pPr marL="0" marR="0" indent="0" algn="ctr" defTabSz="914400" rtl="0" eaLnBrk="1" fontAlgn="auto" latinLnBrk="0" hangingPunct="1">
            <a:lnSpc>
              <a:spcPct val="100000"/>
            </a:lnSpc>
            <a:spcBef>
              <a:spcPts val="0"/>
            </a:spcBef>
            <a:spcAft>
              <a:spcPts val="0"/>
            </a:spcAft>
            <a:buClrTx/>
            <a:buSzTx/>
            <a:buFontTx/>
            <a:buNone/>
            <a:tabLst/>
            <a:defRPr/>
          </a:pPr>
          <a:r>
            <a:rPr lang="en-US" sz="1600" b="1" i="0" baseline="0" dirty="0" err="1">
              <a:effectLst/>
              <a:latin typeface="+mn-lt"/>
              <a:ea typeface="+mn-ea"/>
              <a:cs typeface="+mn-cs"/>
            </a:rPr>
            <a:t>jul</a:t>
          </a:r>
          <a:r>
            <a:rPr lang="en-US" sz="1600" b="1" i="0" baseline="0" dirty="0">
              <a:effectLst/>
              <a:latin typeface="+mn-lt"/>
              <a:ea typeface="+mn-ea"/>
              <a:cs typeface="+mn-cs"/>
            </a:rPr>
            <a:t>/16</a:t>
          </a:r>
        </a:p>
        <a:p xmlns:a="http://schemas.openxmlformats.org/drawingml/2006/main">
          <a:pPr marL="0" marR="0" indent="0" algn="ctr" defTabSz="914400" rtl="0" eaLnBrk="1" fontAlgn="auto" latinLnBrk="0" hangingPunct="1">
            <a:lnSpc>
              <a:spcPct val="100000"/>
            </a:lnSpc>
            <a:spcBef>
              <a:spcPts val="0"/>
            </a:spcBef>
            <a:spcAft>
              <a:spcPts val="0"/>
            </a:spcAft>
            <a:buClrTx/>
            <a:buSzTx/>
            <a:buFontTx/>
            <a:buNone/>
            <a:tabLst/>
            <a:defRPr/>
          </a:pPr>
          <a:r>
            <a:rPr lang="en-US" sz="1600" b="1" i="0" baseline="0" dirty="0">
              <a:effectLst/>
              <a:latin typeface="+mn-lt"/>
              <a:ea typeface="+mn-ea"/>
              <a:cs typeface="+mn-cs"/>
            </a:rPr>
            <a:t>2.678</a:t>
          </a:r>
          <a:endParaRPr lang="pt-BR" sz="1600" b="1" dirty="0">
            <a:effectLst/>
          </a:endParaRPr>
        </a:p>
        <a:p xmlns:a="http://schemas.openxmlformats.org/drawingml/2006/main">
          <a:pPr algn="ctr"/>
          <a:endParaRPr lang="pt-BR" sz="1600" b="1" dirty="0"/>
        </a:p>
      </cdr:txBody>
    </cdr:sp>
  </cdr:relSizeAnchor>
  <cdr:relSizeAnchor xmlns:cdr="http://schemas.openxmlformats.org/drawingml/2006/chartDrawing">
    <cdr:from>
      <cdr:x>0.71563</cdr:x>
      <cdr:y>0.92124</cdr:y>
    </cdr:from>
    <cdr:to>
      <cdr:x>0.98594</cdr:x>
      <cdr:y>1</cdr:y>
    </cdr:to>
    <cdr:sp macro="" textlink="">
      <cdr:nvSpPr>
        <cdr:cNvPr id="4" name="CaixaDeTexto 3"/>
        <cdr:cNvSpPr txBox="1"/>
      </cdr:nvSpPr>
      <cdr:spPr>
        <a:xfrm xmlns:a="http://schemas.openxmlformats.org/drawingml/2006/main">
          <a:off x="4362451" y="3676649"/>
          <a:ext cx="1647824" cy="3143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pt-BR" sz="1100" dirty="0"/>
            <a:t>Fonte:</a:t>
          </a:r>
          <a:r>
            <a:rPr lang="pt-BR" sz="1100" baseline="0" dirty="0"/>
            <a:t> ANP, até </a:t>
          </a:r>
          <a:r>
            <a:rPr lang="pt-BR" sz="1100" baseline="0" dirty="0" err="1"/>
            <a:t>jul</a:t>
          </a:r>
          <a:r>
            <a:rPr lang="pt-BR" sz="1100" baseline="0" dirty="0"/>
            <a:t>/2016</a:t>
          </a:r>
          <a:endParaRPr lang="pt-BR"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84874</cdr:x>
      <cdr:y>0.09211</cdr:y>
    </cdr:from>
    <cdr:to>
      <cdr:x>0.95179</cdr:x>
      <cdr:y>0.19369</cdr:y>
    </cdr:to>
    <cdr:sp macro="" textlink="">
      <cdr:nvSpPr>
        <cdr:cNvPr id="3" name="Texto explicativo retangular 2"/>
        <cdr:cNvSpPr/>
      </cdr:nvSpPr>
      <cdr:spPr bwMode="auto">
        <a:xfrm xmlns:a="http://schemas.openxmlformats.org/drawingml/2006/main">
          <a:off x="7272808" y="504056"/>
          <a:ext cx="883035" cy="555934"/>
        </a:xfrm>
        <a:prstGeom xmlns:a="http://schemas.openxmlformats.org/drawingml/2006/main" prst="wedgeRectCallout">
          <a:avLst>
            <a:gd name="adj1" fmla="val 82170"/>
            <a:gd name="adj2" fmla="val 71452"/>
          </a:avLst>
        </a:prstGeom>
        <a:solidFill xmlns:a="http://schemas.openxmlformats.org/drawingml/2006/main">
          <a:srgbClr val="FFFFFF"/>
        </a:solidFill>
        <a:ln xmlns:a="http://schemas.openxmlformats.org/drawingml/2006/main" w="9525" cap="flat" cmpd="sng" algn="ctr">
          <a:solidFill>
            <a:srgbClr val="FF0000"/>
          </a:solidFill>
          <a:prstDash val="solid"/>
          <a:round/>
          <a:headEnd type="none" w="med" len="med"/>
          <a:tailEnd type="none" w="med" len="med"/>
        </a:ln>
        <a:effectLst xmlns:a="http://schemas.openxmlformats.org/drawingml/2006/main"/>
      </cdr:spPr>
      <cdr:txBody>
        <a:bodyPr xmlns:a="http://schemas.openxmlformats.org/drawingml/2006/main" vertOverflow="clip" wrap="square" lIns="18288" tIns="0" rIns="0" bIns="0" anchor="ctr" upright="1"/>
        <a:lstStyle xmlns:a="http://schemas.openxmlformats.org/drawingml/2006/main"/>
        <a:p xmlns:a="http://schemas.openxmlformats.org/drawingml/2006/main">
          <a:pPr algn="ctr"/>
          <a:r>
            <a:rPr lang="pt-BR" sz="1600" b="1"/>
            <a:t>jul/16</a:t>
          </a:r>
        </a:p>
        <a:p xmlns:a="http://schemas.openxmlformats.org/drawingml/2006/main">
          <a:pPr algn="ctr"/>
          <a:r>
            <a:rPr lang="pt-BR" sz="1600" b="1"/>
            <a:t>107,17</a:t>
          </a:r>
        </a:p>
      </cdr:txBody>
    </cdr:sp>
  </cdr:relSizeAnchor>
  <cdr:relSizeAnchor xmlns:cdr="http://schemas.openxmlformats.org/drawingml/2006/chartDrawing">
    <cdr:from>
      <cdr:x>0.73143</cdr:x>
      <cdr:y>0.92478</cdr:y>
    </cdr:from>
    <cdr:to>
      <cdr:x>0.99441</cdr:x>
      <cdr:y>0.99324</cdr:y>
    </cdr:to>
    <cdr:sp macro="" textlink="">
      <cdr:nvSpPr>
        <cdr:cNvPr id="5" name="CaixaDeTexto 1"/>
        <cdr:cNvSpPr txBox="1"/>
      </cdr:nvSpPr>
      <cdr:spPr>
        <a:xfrm xmlns:a="http://schemas.openxmlformats.org/drawingml/2006/main">
          <a:off x="5225177" y="3911001"/>
          <a:ext cx="1878663" cy="2895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pt-BR" sz="1100" b="1" dirty="0"/>
            <a:t>Fonte:</a:t>
          </a:r>
          <a:r>
            <a:rPr lang="pt-BR" sz="1100" b="1" baseline="0" dirty="0"/>
            <a:t> ANP, até  </a:t>
          </a:r>
          <a:r>
            <a:rPr lang="pt-BR" sz="1100" b="1" baseline="0" dirty="0" err="1"/>
            <a:t>jul</a:t>
          </a:r>
          <a:r>
            <a:rPr lang="pt-BR" sz="1100" b="1" baseline="0" dirty="0"/>
            <a:t>/2016</a:t>
          </a:r>
        </a:p>
        <a:p xmlns:a="http://schemas.openxmlformats.org/drawingml/2006/main">
          <a:endParaRPr lang="pt-BR" sz="1100" b="1" dirty="0"/>
        </a:p>
      </cdr:txBody>
    </cdr:sp>
  </cdr:relSizeAnchor>
</c:userShapes>
</file>

<file path=ppt/drawings/drawing3.xml><?xml version="1.0" encoding="utf-8"?>
<c:userShapes xmlns:c="http://schemas.openxmlformats.org/drawingml/2006/chart">
  <cdr:relSizeAnchor xmlns:cdr="http://schemas.openxmlformats.org/drawingml/2006/chartDrawing">
    <cdr:from>
      <cdr:x>0.00146</cdr:x>
      <cdr:y>0.01575</cdr:y>
    </cdr:from>
    <cdr:to>
      <cdr:x>0.11842</cdr:x>
      <cdr:y>0.09186</cdr:y>
    </cdr:to>
    <cdr:sp macro="" textlink="">
      <cdr:nvSpPr>
        <cdr:cNvPr id="2" name="CaixaDeTexto 1"/>
        <cdr:cNvSpPr txBox="1"/>
      </cdr:nvSpPr>
      <cdr:spPr>
        <a:xfrm xmlns:a="http://schemas.openxmlformats.org/drawingml/2006/main">
          <a:off x="9526" y="57151"/>
          <a:ext cx="762000" cy="2762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pt-BR" sz="1600" b="1" dirty="0"/>
            <a:t>US/</a:t>
          </a:r>
          <a:r>
            <a:rPr lang="pt-BR" sz="1600" b="1" dirty="0" err="1"/>
            <a:t>bbl</a:t>
          </a:r>
          <a:endParaRPr lang="pt-BR" sz="1600" b="1"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96332"/>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96332"/>
          </a:xfrm>
          <a:prstGeom prst="rect">
            <a:avLst/>
          </a:prstGeom>
        </p:spPr>
        <p:txBody>
          <a:bodyPr vert="horz" lIns="91440" tIns="45720" rIns="91440" bIns="45720" rtlCol="0"/>
          <a:lstStyle>
            <a:lvl1pPr algn="r">
              <a:defRPr sz="1200"/>
            </a:lvl1pPr>
          </a:lstStyle>
          <a:p>
            <a:fld id="{D96A16B2-45DD-46A9-BF4C-6D011A419CA7}" type="datetimeFigureOut">
              <a:rPr lang="pt-BR" smtClean="0"/>
              <a:t>03/10/2016</a:t>
            </a:fld>
            <a:endParaRPr lang="pt-BR"/>
          </a:p>
        </p:txBody>
      </p:sp>
      <p:sp>
        <p:nvSpPr>
          <p:cNvPr id="4" name="Espaço Reservado para Imagem de Slide 3"/>
          <p:cNvSpPr>
            <a:spLocks noGrp="1" noRot="1" noChangeAspect="1"/>
          </p:cNvSpPr>
          <p:nvPr>
            <p:ph type="sldImg" idx="2"/>
          </p:nvPr>
        </p:nvSpPr>
        <p:spPr>
          <a:xfrm>
            <a:off x="947738" y="744538"/>
            <a:ext cx="4962525" cy="3722687"/>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715153"/>
            <a:ext cx="5486400" cy="4466987"/>
          </a:xfrm>
          <a:prstGeom prst="rect">
            <a:avLst/>
          </a:prstGeom>
        </p:spPr>
        <p:txBody>
          <a:bodyPr vert="horz" lIns="91440" tIns="45720" rIns="91440" bIns="45720" rtlCol="0"/>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6" name="Espaço Reservado para Rodapé 5"/>
          <p:cNvSpPr>
            <a:spLocks noGrp="1"/>
          </p:cNvSpPr>
          <p:nvPr>
            <p:ph type="ftr" sz="quarter" idx="4"/>
          </p:nvPr>
        </p:nvSpPr>
        <p:spPr>
          <a:xfrm>
            <a:off x="0" y="9428583"/>
            <a:ext cx="2971800" cy="496332"/>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9428583"/>
            <a:ext cx="2971800" cy="496332"/>
          </a:xfrm>
          <a:prstGeom prst="rect">
            <a:avLst/>
          </a:prstGeom>
        </p:spPr>
        <p:txBody>
          <a:bodyPr vert="horz" lIns="91440" tIns="45720" rIns="91440" bIns="45720" rtlCol="0" anchor="b"/>
          <a:lstStyle>
            <a:lvl1pPr algn="r">
              <a:defRPr sz="1200"/>
            </a:lvl1pPr>
          </a:lstStyle>
          <a:p>
            <a:fld id="{4EB20620-FC7D-4711-9CFA-95D771269BB0}" type="slidenum">
              <a:rPr lang="pt-BR" smtClean="0"/>
              <a:t>‹nº›</a:t>
            </a:fld>
            <a:endParaRPr lang="pt-BR"/>
          </a:p>
        </p:txBody>
      </p:sp>
    </p:spTree>
    <p:extLst>
      <p:ext uri="{BB962C8B-B14F-4D97-AF65-F5344CB8AC3E}">
        <p14:creationId xmlns:p14="http://schemas.microsoft.com/office/powerpoint/2010/main" val="30820226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ww.comciencia.br/reportagens/petroleo/pet01.shtml"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www.comciencia.br/reportagens/petroleo/pet11.shtml"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txBox="1">
            <a:spLocks noGrp="1" noChangeArrowheads="1"/>
          </p:cNvSpPr>
          <p:nvPr/>
        </p:nvSpPr>
        <p:spPr bwMode="auto">
          <a:xfrm>
            <a:off x="3885565" y="9429994"/>
            <a:ext cx="2972440" cy="496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37" tIns="44970" rIns="89937" bIns="44970" anchor="b"/>
          <a:lstStyle>
            <a:lvl1pPr eaLnBrk="0" hangingPunct="0">
              <a:defRPr>
                <a:solidFill>
                  <a:schemeClr val="tx1"/>
                </a:solidFill>
                <a:latin typeface="Arial Narrow" pitchFamily="34" charset="0"/>
                <a:cs typeface="Arial" pitchFamily="34" charset="0"/>
              </a:defRPr>
            </a:lvl1pPr>
            <a:lvl2pPr marL="742950" indent="-285750" eaLnBrk="0" hangingPunct="0">
              <a:defRPr>
                <a:solidFill>
                  <a:schemeClr val="tx1"/>
                </a:solidFill>
                <a:latin typeface="Arial Narrow" pitchFamily="34" charset="0"/>
                <a:cs typeface="Arial" pitchFamily="34" charset="0"/>
              </a:defRPr>
            </a:lvl2pPr>
            <a:lvl3pPr marL="1143000" indent="-228600" eaLnBrk="0" hangingPunct="0">
              <a:defRPr>
                <a:solidFill>
                  <a:schemeClr val="tx1"/>
                </a:solidFill>
                <a:latin typeface="Arial Narrow" pitchFamily="34" charset="0"/>
                <a:cs typeface="Arial" pitchFamily="34" charset="0"/>
              </a:defRPr>
            </a:lvl3pPr>
            <a:lvl4pPr marL="1600200" indent="-228600" eaLnBrk="0" hangingPunct="0">
              <a:defRPr>
                <a:solidFill>
                  <a:schemeClr val="tx1"/>
                </a:solidFill>
                <a:latin typeface="Arial Narrow" pitchFamily="34" charset="0"/>
                <a:cs typeface="Arial" pitchFamily="34" charset="0"/>
              </a:defRPr>
            </a:lvl4pPr>
            <a:lvl5pPr marL="2057400" indent="-228600" eaLnBrk="0" hangingPunct="0">
              <a:defRPr>
                <a:solidFill>
                  <a:schemeClr val="tx1"/>
                </a:solidFill>
                <a:latin typeface="Arial Narrow" pitchFamily="34" charset="0"/>
                <a:cs typeface="Arial" pitchFamily="34" charset="0"/>
              </a:defRPr>
            </a:lvl5pPr>
            <a:lvl6pPr marL="2514600" indent="-228600" eaLnBrk="0" fontAlgn="base" hangingPunct="0">
              <a:spcBef>
                <a:spcPct val="0"/>
              </a:spcBef>
              <a:spcAft>
                <a:spcPct val="0"/>
              </a:spcAft>
              <a:defRPr>
                <a:solidFill>
                  <a:schemeClr val="tx1"/>
                </a:solidFill>
                <a:latin typeface="Arial Narrow" pitchFamily="34" charset="0"/>
                <a:cs typeface="Arial" pitchFamily="34" charset="0"/>
              </a:defRPr>
            </a:lvl6pPr>
            <a:lvl7pPr marL="2971800" indent="-228600" eaLnBrk="0" fontAlgn="base" hangingPunct="0">
              <a:spcBef>
                <a:spcPct val="0"/>
              </a:spcBef>
              <a:spcAft>
                <a:spcPct val="0"/>
              </a:spcAft>
              <a:defRPr>
                <a:solidFill>
                  <a:schemeClr val="tx1"/>
                </a:solidFill>
                <a:latin typeface="Arial Narrow" pitchFamily="34" charset="0"/>
                <a:cs typeface="Arial" pitchFamily="34" charset="0"/>
              </a:defRPr>
            </a:lvl7pPr>
            <a:lvl8pPr marL="3429000" indent="-228600" eaLnBrk="0" fontAlgn="base" hangingPunct="0">
              <a:spcBef>
                <a:spcPct val="0"/>
              </a:spcBef>
              <a:spcAft>
                <a:spcPct val="0"/>
              </a:spcAft>
              <a:defRPr>
                <a:solidFill>
                  <a:schemeClr val="tx1"/>
                </a:solidFill>
                <a:latin typeface="Arial Narrow" pitchFamily="34" charset="0"/>
                <a:cs typeface="Arial" pitchFamily="34" charset="0"/>
              </a:defRPr>
            </a:lvl8pPr>
            <a:lvl9pPr marL="3886200" indent="-228600" eaLnBrk="0" fontAlgn="base" hangingPunct="0">
              <a:spcBef>
                <a:spcPct val="0"/>
              </a:spcBef>
              <a:spcAft>
                <a:spcPct val="0"/>
              </a:spcAft>
              <a:defRPr>
                <a:solidFill>
                  <a:schemeClr val="tx1"/>
                </a:solidFill>
                <a:latin typeface="Arial Narrow" pitchFamily="34" charset="0"/>
                <a:cs typeface="Arial" pitchFamily="34" charset="0"/>
              </a:defRPr>
            </a:lvl9pPr>
          </a:lstStyle>
          <a:p>
            <a:pPr algn="r" eaLnBrk="1" fontAlgn="base" hangingPunct="1">
              <a:spcBef>
                <a:spcPct val="0"/>
              </a:spcBef>
              <a:spcAft>
                <a:spcPct val="0"/>
              </a:spcAft>
            </a:pPr>
            <a:fld id="{4EAB84A4-2DA3-4EFC-9E18-B811C83D0C8E}" type="slidenum">
              <a:rPr lang="pt-BR" sz="1200">
                <a:solidFill>
                  <a:prstClr val="black"/>
                </a:solidFill>
              </a:rPr>
              <a:pPr algn="r" eaLnBrk="1" fontAlgn="base" hangingPunct="1">
                <a:spcBef>
                  <a:spcPct val="0"/>
                </a:spcBef>
                <a:spcAft>
                  <a:spcPct val="0"/>
                </a:spcAft>
              </a:pPr>
              <a:t>2</a:t>
            </a:fld>
            <a:endParaRPr lang="pt-BR" sz="1200">
              <a:solidFill>
                <a:prstClr val="black"/>
              </a:solidFill>
            </a:endParaRPr>
          </a:p>
        </p:txBody>
      </p:sp>
      <p:sp>
        <p:nvSpPr>
          <p:cNvPr id="61443" name="Rectangle 2"/>
          <p:cNvSpPr>
            <a:spLocks noGrp="1" noRot="1" noChangeAspect="1" noChangeArrowheads="1" noTextEdit="1"/>
          </p:cNvSpPr>
          <p:nvPr>
            <p:ph type="sldImg"/>
          </p:nvPr>
        </p:nvSpPr>
        <p:spPr bwMode="auto">
          <a:xfrm>
            <a:off x="947738" y="744538"/>
            <a:ext cx="4962525" cy="3722687"/>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61444" name="Rectangle 3"/>
          <p:cNvSpPr>
            <a:spLocks noGrp="1" noChangeArrowheads="1"/>
          </p:cNvSpPr>
          <p:nvPr>
            <p:ph type="body" idx="1"/>
          </p:nvPr>
        </p:nvSpPr>
        <p:spPr bwMode="auto">
          <a:xfrm>
            <a:off x="684846" y="4715790"/>
            <a:ext cx="5488316" cy="446667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691" tIns="45346" rIns="90691" bIns="45346"/>
          <a:lstStyle/>
          <a:p>
            <a:pPr eaLnBrk="1" hangingPunct="1"/>
            <a:r>
              <a:rPr lang="pt-BR" dirty="0" smtClean="0">
                <a:latin typeface="Verdana" pitchFamily="34" charset="0"/>
                <a:ea typeface="Arial Unicode MS" pitchFamily="34" charset="-128"/>
                <a:cs typeface="Arial Unicode MS" pitchFamily="34" charset="-128"/>
              </a:rPr>
              <a:t>Este slide concentra todas as concessões e instalações do setor petróleo e gás no Brasil. As bacias sedimentares costeiras (em amarelo claro) têm grande parte das nossas reservas, em especial as do sudeste do País. Os atuais preços do petróleo também tem motivado as empresas a investirem nas áreas de novas fronteiras, como as bacias de São Francisco (MG) e do Parnaíba (MA).</a:t>
            </a:r>
          </a:p>
          <a:p>
            <a:pPr eaLnBrk="1" hangingPunct="1"/>
            <a:r>
              <a:rPr lang="pt-BR" dirty="0" smtClean="0">
                <a:latin typeface="Verdana" pitchFamily="34" charset="0"/>
                <a:ea typeface="Arial Unicode MS" pitchFamily="34" charset="-128"/>
                <a:cs typeface="Arial Unicode MS" pitchFamily="34" charset="-128"/>
              </a:rPr>
              <a:t>HISTÓRIA DO PETRÓLEO NO BRASIL</a:t>
            </a:r>
          </a:p>
          <a:p>
            <a:pPr eaLnBrk="1" hangingPunct="1"/>
            <a:r>
              <a:rPr lang="pt-BR" dirty="0" smtClean="0">
                <a:latin typeface="Verdana" pitchFamily="34" charset="0"/>
                <a:ea typeface="Arial Unicode MS" pitchFamily="34" charset="-128"/>
                <a:cs typeface="Arial Unicode MS" pitchFamily="34" charset="-128"/>
              </a:rPr>
              <a:t>A história da indústria petrolífera do Brasil se confunde com a criação da Petrobras, em 1953, empresa que alavancou a exploração deste recurso natural que se tornaria um dos termômetros da política internacional. No cenário mundial, hoje, o Brasil ocupa o 16º lugar no </a:t>
            </a:r>
            <a:r>
              <a:rPr lang="pt-BR" i="1" dirty="0" smtClean="0">
                <a:latin typeface="Verdana" pitchFamily="34" charset="0"/>
                <a:ea typeface="Arial Unicode MS" pitchFamily="34" charset="-128"/>
                <a:cs typeface="Arial Unicode MS" pitchFamily="34" charset="-128"/>
              </a:rPr>
              <a:t>ranking</a:t>
            </a:r>
            <a:r>
              <a:rPr lang="pt-BR" dirty="0" smtClean="0">
                <a:latin typeface="Verdana" pitchFamily="34" charset="0"/>
                <a:ea typeface="Arial Unicode MS" pitchFamily="34" charset="-128"/>
                <a:cs typeface="Arial Unicode MS" pitchFamily="34" charset="-128"/>
              </a:rPr>
              <a:t> dos maiores produtores de petróleo do mundo. Até isso ocorrer foi preciso que houvesse um aumento da capacitação de recursos humanos, injeção de capital, crises internacionais e a criação de políticas que organizaram e priorizaram o petróleo para o desenvolvimento do país.</a:t>
            </a:r>
            <a:endParaRPr lang="pt-BR" dirty="0" smtClean="0">
              <a:latin typeface="Arial Unicode MS" pitchFamily="34" charset="-128"/>
              <a:ea typeface="Arial Unicode MS" pitchFamily="34" charset="-128"/>
              <a:cs typeface="Arial Unicode MS" pitchFamily="34" charset="-128"/>
            </a:endParaRPr>
          </a:p>
          <a:p>
            <a:pPr eaLnBrk="1" hangingPunct="1"/>
            <a:r>
              <a:rPr lang="pt-BR" dirty="0" smtClean="0">
                <a:latin typeface="Verdana" pitchFamily="34" charset="0"/>
                <a:ea typeface="Arial Unicode MS" pitchFamily="34" charset="-128"/>
                <a:cs typeface="Arial Unicode MS" pitchFamily="34" charset="-128"/>
              </a:rPr>
              <a:t>Mas este foi o resultado de uma caminhada que começou quando observadores e curiosos foram gradativamente desvendando os primeiros vestígios de petróleo em solo brasileiro a partir do final do século XIX. Nos EUA, em 1859, perfurava-se o primeiro poço de petróleo na Pensilvânia, descoberto pelo coronel Edwin L. Drake. A hoje módica extração de 19 barris ao dia, motivou inúmeras outras iniciativas. </a:t>
            </a:r>
            <a:endParaRPr lang="pt-BR" dirty="0" smtClean="0">
              <a:latin typeface="Arial Unicode MS" pitchFamily="34" charset="-128"/>
              <a:ea typeface="Arial Unicode MS" pitchFamily="34" charset="-128"/>
              <a:cs typeface="Arial Unicode MS" pitchFamily="34" charset="-128"/>
            </a:endParaRPr>
          </a:p>
          <a:p>
            <a:pPr eaLnBrk="1" hangingPunct="1"/>
            <a:r>
              <a:rPr lang="pt-BR" dirty="0" smtClean="0">
                <a:latin typeface="Verdana" pitchFamily="34" charset="0"/>
                <a:ea typeface="Arial Unicode MS" pitchFamily="34" charset="-128"/>
                <a:cs typeface="Arial Unicode MS" pitchFamily="34" charset="-128"/>
              </a:rPr>
              <a:t>No Brasil, as primeiras tentativas de encontrar petróleo datam de 1864, Mas apenas em 1897, o fazendeiro Eugênio Ferreira de Camargo perfurou, na região de Bofete (SP), o que foi considerado o primeiro poço petrolífero do país, muito embora apenas 2 barris tenham dele sido extraídos. Nesta época o mundo conheceu os primeiros motores à explosão que expandiriam as aplicações do petróleo, antes restritas ao uso em indústrias e iluminação de residências ou locais públicos. No final do século XIX, dez países já extraíam petróleo de seus subsolos. </a:t>
            </a:r>
            <a:endParaRPr lang="pt-BR" dirty="0" smtClean="0">
              <a:latin typeface="Arial Unicode MS" pitchFamily="34" charset="-128"/>
              <a:ea typeface="Arial Unicode MS" pitchFamily="34" charset="-128"/>
              <a:cs typeface="Arial Unicode MS" pitchFamily="34" charset="-128"/>
            </a:endParaRPr>
          </a:p>
          <a:p>
            <a:pPr eaLnBrk="1" hangingPunct="1"/>
            <a:r>
              <a:rPr lang="pt-BR" dirty="0" smtClean="0">
                <a:latin typeface="Verdana" pitchFamily="34" charset="0"/>
                <a:ea typeface="Arial Unicode MS" pitchFamily="34" charset="-128"/>
                <a:cs typeface="Arial Unicode MS" pitchFamily="34" charset="-128"/>
              </a:rPr>
              <a:t>Entre as principais tentativas de órgãos públicos organizarem e profissionalizarem a atividade de perfuração de poços no país estão a criação do Serviço Geológico e Mineralógico Brasileiro (SGMB), em 1907, do Departamento Nacional da Produção Mineral, órgão do Ministério de Agricultura, em 1933, e as contribuições do governo do estado de São Paulo. Muito embora as iniciativas tenham sido importantes para atrair geólogos e engenheiros estrangeiros e brasileiros para pesquisar nos estados do Alagoas, Amazonas, Bahia e Sergipe, a falta de recursos, equipamentos e pessoal qualificado dificultaram a chegada de resultados positivos. </a:t>
            </a:r>
            <a:endParaRPr lang="pt-BR" dirty="0" smtClean="0">
              <a:latin typeface="Arial Unicode MS" pitchFamily="34" charset="-128"/>
              <a:ea typeface="Arial Unicode MS" pitchFamily="34" charset="-128"/>
              <a:cs typeface="Arial Unicode MS" pitchFamily="34" charset="-128"/>
            </a:endParaRPr>
          </a:p>
          <a:p>
            <a:pPr eaLnBrk="1" hangingPunct="1"/>
            <a:r>
              <a:rPr lang="pt-BR" dirty="0" smtClean="0">
                <a:latin typeface="Verdana" pitchFamily="34" charset="0"/>
                <a:ea typeface="Arial Unicode MS" pitchFamily="34" charset="-128"/>
                <a:cs typeface="Arial Unicode MS" pitchFamily="34" charset="-128"/>
              </a:rPr>
              <a:t>Durante a década de 30, já se instalava no Brasil uma campanha para a nacionalização dos bens do subsolo, em função da presença de </a:t>
            </a:r>
            <a:r>
              <a:rPr lang="pt-BR" i="1" dirty="0" smtClean="0">
                <a:latin typeface="Verdana" pitchFamily="34" charset="0"/>
                <a:ea typeface="Arial Unicode MS" pitchFamily="34" charset="-128"/>
                <a:cs typeface="Arial Unicode MS" pitchFamily="34" charset="-128"/>
              </a:rPr>
              <a:t>trustes</a:t>
            </a:r>
            <a:r>
              <a:rPr lang="pt-BR" dirty="0" smtClean="0">
                <a:latin typeface="Verdana" pitchFamily="34" charset="0"/>
                <a:ea typeface="Arial Unicode MS" pitchFamily="34" charset="-128"/>
                <a:cs typeface="Arial Unicode MS" pitchFamily="34" charset="-128"/>
              </a:rPr>
              <a:t> (reunião de empresas para controlar o mercado) que apossavam-se de grandes áreas de petróleo e de minérios, como o ferro. Um das pessoas que desempenhou papel chave nesta campanha foi Monteiro Lobato, que sonhava com um Brasil próspero que pudesse oferecer progresso e desenvolvimento para sua população. Depois de uma viagem aos Estados Unidos, em 1931, Lobato retorna entusiasmado com o modelo de país próspero que conhecera e passa a defender as riquezas naturais do Brasil e sua capacidade de produzir petróleo, através de contribuições de artigos para jornais e palestras para promover a conscientização popular. Estavam entre seus esforços de luta, cartas enviadas ao então presidente Getúlio Vargas, alertando-o sobre os malefícios da política de </a:t>
            </a:r>
            <a:r>
              <a:rPr lang="pt-BR" i="1" dirty="0" smtClean="0">
                <a:latin typeface="Verdana" pitchFamily="34" charset="0"/>
                <a:ea typeface="Arial Unicode MS" pitchFamily="34" charset="-128"/>
                <a:cs typeface="Arial Unicode MS" pitchFamily="34" charset="-128"/>
              </a:rPr>
              <a:t>trustes</a:t>
            </a:r>
            <a:r>
              <a:rPr lang="pt-BR" dirty="0" smtClean="0">
                <a:latin typeface="Verdana" pitchFamily="34" charset="0"/>
                <a:ea typeface="Arial Unicode MS" pitchFamily="34" charset="-128"/>
                <a:cs typeface="Arial Unicode MS" pitchFamily="34" charset="-128"/>
              </a:rPr>
              <a:t> para o país e a necessidade de defesa da soberania nacional na questão do petróleo; recebeu do governo a concessão de duas companhias de petróleo de exploração do recurso, além de ter lançado os livros </a:t>
            </a:r>
            <a:r>
              <a:rPr lang="pt-BR" i="1" dirty="0" smtClean="0">
                <a:latin typeface="Verdana" pitchFamily="34" charset="0"/>
                <a:ea typeface="Arial Unicode MS" pitchFamily="34" charset="-128"/>
                <a:cs typeface="Arial Unicode MS" pitchFamily="34" charset="-128"/>
              </a:rPr>
              <a:t>O escândalo do petróleo</a:t>
            </a:r>
            <a:r>
              <a:rPr lang="pt-BR" dirty="0" smtClean="0">
                <a:latin typeface="Verdana" pitchFamily="34" charset="0"/>
                <a:ea typeface="Arial Unicode MS" pitchFamily="34" charset="-128"/>
                <a:cs typeface="Arial Unicode MS" pitchFamily="34" charset="-128"/>
              </a:rPr>
              <a:t> e do infanto-juvenil, </a:t>
            </a:r>
            <a:r>
              <a:rPr lang="pt-BR" i="1" dirty="0" smtClean="0">
                <a:latin typeface="Verdana" pitchFamily="34" charset="0"/>
                <a:ea typeface="Arial Unicode MS" pitchFamily="34" charset="-128"/>
                <a:cs typeface="Arial Unicode MS" pitchFamily="34" charset="-128"/>
              </a:rPr>
              <a:t>O poço do Visconde, Serões de Dona Benta e Histórias de Tia Nastácia</a:t>
            </a:r>
            <a:r>
              <a:rPr lang="pt-BR" dirty="0" smtClean="0">
                <a:latin typeface="Verdana" pitchFamily="34" charset="0"/>
                <a:ea typeface="Arial Unicode MS" pitchFamily="34" charset="-128"/>
                <a:cs typeface="Arial Unicode MS" pitchFamily="34" charset="-128"/>
              </a:rPr>
              <a:t>, sobre a descoberta do petróleo.</a:t>
            </a:r>
            <a:endParaRPr lang="pt-BR" dirty="0" smtClean="0">
              <a:latin typeface="Arial Unicode MS" pitchFamily="34" charset="-128"/>
              <a:ea typeface="Arial Unicode MS" pitchFamily="34" charset="-128"/>
              <a:cs typeface="Arial Unicode MS" pitchFamily="34" charset="-128"/>
            </a:endParaRPr>
          </a:p>
          <a:p>
            <a:pPr algn="ctr" eaLnBrk="1" hangingPunct="1"/>
            <a:r>
              <a:rPr lang="pt-BR" i="1" dirty="0" smtClean="0">
                <a:latin typeface="Verdana" pitchFamily="34" charset="0"/>
                <a:ea typeface="Arial Unicode MS" pitchFamily="34" charset="-128"/>
                <a:cs typeface="Arial Unicode MS" pitchFamily="34" charset="-128"/>
              </a:rPr>
              <a:t>(...) O assunto é extremamente sério e faz jus ao exame sereno do Presidente da República, pois que as nossas melhores jazidas de minérios já caíram em mãos estrangeiras e no passo em que as coisas vão o mesmo se dará com as terras potencialmente petrolíferas. (...)</a:t>
            </a:r>
            <a:endParaRPr lang="pt-BR" dirty="0" smtClean="0">
              <a:latin typeface="Arial Unicode MS" pitchFamily="34" charset="-128"/>
              <a:ea typeface="Arial Unicode MS" pitchFamily="34" charset="-128"/>
              <a:cs typeface="Arial Unicode MS" pitchFamily="34" charset="-128"/>
            </a:endParaRPr>
          </a:p>
          <a:p>
            <a:pPr algn="ctr" eaLnBrk="1" hangingPunct="1"/>
            <a:r>
              <a:rPr lang="pt-BR" b="1" dirty="0" smtClean="0">
                <a:latin typeface="Verdana" pitchFamily="34" charset="0"/>
                <a:ea typeface="Arial Unicode MS" pitchFamily="34" charset="-128"/>
                <a:cs typeface="Arial Unicode MS" pitchFamily="34" charset="-128"/>
              </a:rPr>
              <a:t>Trecho da Carta que Monteiro Lobato enviou ao presidente Getúlio Vargas em 20 de janeiro de 1935.</a:t>
            </a:r>
            <a:endParaRPr lang="pt-BR" dirty="0" smtClean="0">
              <a:latin typeface="Arial Unicode MS" pitchFamily="34" charset="-128"/>
              <a:ea typeface="Arial Unicode MS" pitchFamily="34" charset="-128"/>
              <a:cs typeface="Arial Unicode MS" pitchFamily="34" charset="-128"/>
            </a:endParaRPr>
          </a:p>
          <a:p>
            <a:pPr eaLnBrk="1" hangingPunct="1"/>
            <a:r>
              <a:rPr lang="pt-BR" dirty="0" smtClean="0">
                <a:latin typeface="Verdana" pitchFamily="34" charset="0"/>
                <a:ea typeface="Arial Unicode MS" pitchFamily="34" charset="-128"/>
                <a:cs typeface="Arial Unicode MS" pitchFamily="34" charset="-128"/>
              </a:rPr>
              <a:t>Nesse meio tempo, no interior da Bahia, no município, coincidentemente mas nada relacionado ao escritor, de Lobato, Manoel Ignácio Bastos, engenheiro que trabalhava para a delegacia de Terras e Minas, encontra amostras de uma substância negra que, após ser analisada pelos engenheiros Antonio Joaquim de Souza Carneiro, da Escola Politécnica de São Paulo e Oscar Cordeiro, da Bolsa de Mercadorias, é confirmada como sendo petróleo. Depois de muitas tentativas frustradas de atrair a atenção das autoridades, finalmente, em 1939, a sonda enviada pelo DNPM jorraria petróleo abundantemente, sendo considerado o primeiro poço comerciável do país, dois anos depois. </a:t>
            </a:r>
            <a:endParaRPr lang="pt-BR" dirty="0" smtClean="0">
              <a:latin typeface="Arial Unicode MS" pitchFamily="34" charset="-128"/>
              <a:ea typeface="Arial Unicode MS" pitchFamily="34" charset="-128"/>
              <a:cs typeface="Arial Unicode MS" pitchFamily="34" charset="-128"/>
            </a:endParaRPr>
          </a:p>
          <a:p>
            <a:pPr eaLnBrk="1" hangingPunct="1"/>
            <a:r>
              <a:rPr lang="pt-BR" dirty="0" smtClean="0">
                <a:latin typeface="Verdana" pitchFamily="34" charset="0"/>
                <a:ea typeface="Arial Unicode MS" pitchFamily="34" charset="-128"/>
                <a:cs typeface="Arial Unicode MS" pitchFamily="34" charset="-128"/>
              </a:rPr>
              <a:t>Apenas como curiosidade, quem recebeu os créditos pela descoberta foi Oscar Cordeiro, fato que só seria corrigido pela Petrobras em 1965, quinze anos após a morte de Ignácio Bastos, após extensa análise documental apresentada pela viúva de Bastos.</a:t>
            </a:r>
            <a:endParaRPr lang="pt-BR" dirty="0" smtClean="0">
              <a:latin typeface="Arial Unicode MS" pitchFamily="34" charset="-128"/>
              <a:ea typeface="Arial Unicode MS" pitchFamily="34" charset="-128"/>
              <a:cs typeface="Arial Unicode MS" pitchFamily="34" charset="-128"/>
            </a:endParaRPr>
          </a:p>
          <a:p>
            <a:pPr algn="ctr" eaLnBrk="1" hangingPunct="1"/>
            <a:r>
              <a:rPr lang="pt-BR" i="1" dirty="0" smtClean="0">
                <a:latin typeface="Verdana" pitchFamily="34" charset="0"/>
                <a:ea typeface="Arial Unicode MS" pitchFamily="34" charset="-128"/>
                <a:cs typeface="Arial Unicode MS" pitchFamily="34" charset="-128"/>
              </a:rPr>
              <a:t>"Minha filha, eu agora tomei um choque. Passei no Lobato e vi lá uma placa - 'Mina de Petróleo de Oscar Cordeiro'. E eu retruquei. Não disse a você, </a:t>
            </a:r>
            <a:r>
              <a:rPr lang="pt-BR" i="1" dirty="0" err="1" smtClean="0">
                <a:latin typeface="Verdana" pitchFamily="34" charset="0"/>
                <a:ea typeface="Arial Unicode MS" pitchFamily="34" charset="-128"/>
                <a:cs typeface="Arial Unicode MS" pitchFamily="34" charset="-128"/>
              </a:rPr>
              <a:t>Maneca</a:t>
            </a:r>
            <a:r>
              <a:rPr lang="pt-BR" i="1" dirty="0" smtClean="0">
                <a:latin typeface="Verdana" pitchFamily="34" charset="0"/>
                <a:ea typeface="Arial Unicode MS" pitchFamily="34" charset="-128"/>
                <a:cs typeface="Arial Unicode MS" pitchFamily="34" charset="-128"/>
              </a:rPr>
              <a:t>, que não convidasse ninguém e esperasse ajuda do governo? E </a:t>
            </a:r>
            <a:r>
              <a:rPr lang="pt-BR" i="1" dirty="0" err="1" smtClean="0">
                <a:latin typeface="Verdana" pitchFamily="34" charset="0"/>
                <a:ea typeface="Arial Unicode MS" pitchFamily="34" charset="-128"/>
                <a:cs typeface="Arial Unicode MS" pitchFamily="34" charset="-128"/>
              </a:rPr>
              <a:t>Maneca</a:t>
            </a:r>
            <a:r>
              <a:rPr lang="pt-BR" i="1" dirty="0" smtClean="0">
                <a:latin typeface="Verdana" pitchFamily="34" charset="0"/>
                <a:ea typeface="Arial Unicode MS" pitchFamily="34" charset="-128"/>
                <a:cs typeface="Arial Unicode MS" pitchFamily="34" charset="-128"/>
              </a:rPr>
              <a:t>, sempre incisivo nas respostas: 'Mas minha filha, Cordeiro, como presidente da Bolsa de Mercadorias, pode levar avante a parte comercial da sociedade' ".</a:t>
            </a:r>
            <a:endParaRPr lang="pt-BR" dirty="0" smtClean="0">
              <a:latin typeface="Arial Unicode MS" pitchFamily="34" charset="-128"/>
              <a:ea typeface="Arial Unicode MS" pitchFamily="34" charset="-128"/>
              <a:cs typeface="Arial Unicode MS" pitchFamily="34" charset="-128"/>
            </a:endParaRPr>
          </a:p>
          <a:p>
            <a:pPr algn="ctr" eaLnBrk="1" hangingPunct="1"/>
            <a:r>
              <a:rPr lang="pt-BR" b="1" dirty="0" err="1" smtClean="0">
                <a:latin typeface="Verdana" pitchFamily="34" charset="0"/>
                <a:ea typeface="Arial Unicode MS" pitchFamily="34" charset="-128"/>
                <a:cs typeface="Arial Unicode MS" pitchFamily="34" charset="-128"/>
              </a:rPr>
              <a:t>Maneca</a:t>
            </a:r>
            <a:r>
              <a:rPr lang="pt-BR" b="1" dirty="0" smtClean="0">
                <a:latin typeface="Verdana" pitchFamily="34" charset="0"/>
                <a:ea typeface="Arial Unicode MS" pitchFamily="34" charset="-128"/>
                <a:cs typeface="Arial Unicode MS" pitchFamily="34" charset="-128"/>
              </a:rPr>
              <a:t> - apelido de Manoel Ignácio Bastos. Entrevista que Dona Diva, viúva de Bastos, concedeu ao Jornal da Bahia na década de 1950. Fonte: </a:t>
            </a:r>
            <a:r>
              <a:rPr lang="pt-BR" b="1" i="1" dirty="0" smtClean="0">
                <a:latin typeface="Verdana" pitchFamily="34" charset="0"/>
                <a:ea typeface="Arial Unicode MS" pitchFamily="34" charset="-128"/>
                <a:cs typeface="Arial Unicode MS" pitchFamily="34" charset="-128"/>
              </a:rPr>
              <a:t>Afinal quem descobriu o petróleo no Brasil?</a:t>
            </a:r>
            <a:r>
              <a:rPr lang="pt-BR" b="1" dirty="0" smtClean="0">
                <a:latin typeface="Verdana" pitchFamily="34" charset="0"/>
                <a:ea typeface="Arial Unicode MS" pitchFamily="34" charset="-128"/>
                <a:cs typeface="Arial Unicode MS" pitchFamily="34" charset="-128"/>
              </a:rPr>
              <a:t> de </a:t>
            </a:r>
            <a:r>
              <a:rPr lang="pt-BR" b="1" dirty="0" err="1" smtClean="0">
                <a:latin typeface="Verdana" pitchFamily="34" charset="0"/>
                <a:ea typeface="Arial Unicode MS" pitchFamily="34" charset="-128"/>
                <a:cs typeface="Arial Unicode MS" pitchFamily="34" charset="-128"/>
              </a:rPr>
              <a:t>Petronilha</a:t>
            </a:r>
            <a:r>
              <a:rPr lang="pt-BR" b="1" dirty="0" smtClean="0">
                <a:latin typeface="Verdana" pitchFamily="34" charset="0"/>
                <a:ea typeface="Arial Unicode MS" pitchFamily="34" charset="-128"/>
                <a:cs typeface="Arial Unicode MS" pitchFamily="34" charset="-128"/>
              </a:rPr>
              <a:t> Pimentel.</a:t>
            </a:r>
            <a:endParaRPr lang="pt-BR" dirty="0" smtClean="0">
              <a:latin typeface="Arial Unicode MS" pitchFamily="34" charset="-128"/>
              <a:ea typeface="Arial Unicode MS" pitchFamily="34" charset="-128"/>
              <a:cs typeface="Arial Unicode MS" pitchFamily="34" charset="-128"/>
            </a:endParaRPr>
          </a:p>
          <a:p>
            <a:pPr eaLnBrk="1" hangingPunct="1"/>
            <a:r>
              <a:rPr lang="pt-BR" dirty="0" smtClean="0">
                <a:latin typeface="Verdana" pitchFamily="34" charset="0"/>
                <a:ea typeface="Arial Unicode MS" pitchFamily="34" charset="-128"/>
                <a:cs typeface="Arial Unicode MS" pitchFamily="34" charset="-128"/>
              </a:rPr>
              <a:t>O êxito obtido em Lobato reforçou a necessidade do país minimizar sua dependência em relação às importações de petróleo. Consequentemente, em 1939 o governo de Getúlio Vargas instala o Conselho Nacional do Petróleo (CNP), com a primeira Lei do Petróleo do país, para estruturar e regularizar as atividades envolvidas, desde o processo de exploração de jazidas até a importação, exportação, transporte, distribuição e comércio de petróleo e derivados. Este decreto tornou o recurso patrimônio da União. </a:t>
            </a:r>
            <a:endParaRPr lang="pt-BR" dirty="0" smtClean="0">
              <a:latin typeface="Arial Unicode MS" pitchFamily="34" charset="-128"/>
              <a:ea typeface="Arial Unicode MS" pitchFamily="34" charset="-128"/>
              <a:cs typeface="Arial Unicode MS" pitchFamily="34" charset="-128"/>
            </a:endParaRPr>
          </a:p>
          <a:p>
            <a:pPr eaLnBrk="1" hangingPunct="1"/>
            <a:r>
              <a:rPr lang="pt-BR" dirty="0" smtClean="0">
                <a:latin typeface="Verdana" pitchFamily="34" charset="0"/>
                <a:ea typeface="Arial Unicode MS" pitchFamily="34" charset="-128"/>
                <a:cs typeface="Arial Unicode MS" pitchFamily="34" charset="-128"/>
              </a:rPr>
              <a:t>Daí em diante, muitas perfurações foram feitas nas bacias do Paraná de Sergipe-Alagoas e do Recôncavo, sendo que as principais descobertas foram feitas nesta. </a:t>
            </a:r>
            <a:endParaRPr lang="pt-BR" dirty="0" smtClean="0">
              <a:latin typeface="Arial Unicode MS" pitchFamily="34" charset="-128"/>
              <a:ea typeface="Arial Unicode MS" pitchFamily="34" charset="-128"/>
              <a:cs typeface="Arial Unicode MS" pitchFamily="34" charset="-128"/>
            </a:endParaRPr>
          </a:p>
          <a:p>
            <a:pPr eaLnBrk="1" hangingPunct="1"/>
            <a:r>
              <a:rPr lang="pt-BR" dirty="0" smtClean="0">
                <a:latin typeface="Verdana" pitchFamily="34" charset="0"/>
                <a:ea typeface="Arial Unicode MS" pitchFamily="34" charset="-128"/>
                <a:cs typeface="Arial Unicode MS" pitchFamily="34" charset="-128"/>
              </a:rPr>
              <a:t>Nos anos 50, a pressão da sociedade e a demanda por petróleo se intensificavam, com o movimento de partidos políticos de esquerda que lançam a campanha "</a:t>
            </a:r>
            <a:r>
              <a:rPr lang="pt-BR" dirty="0" smtClean="0">
                <a:latin typeface="Verdana" pitchFamily="34" charset="0"/>
                <a:ea typeface="Arial Unicode MS" pitchFamily="34" charset="-128"/>
                <a:cs typeface="Arial Unicode MS" pitchFamily="34" charset="-128"/>
                <a:hlinkClick r:id="rId3"/>
              </a:rPr>
              <a:t>O petróleo é nosso</a:t>
            </a:r>
            <a:r>
              <a:rPr lang="pt-BR" dirty="0" smtClean="0">
                <a:latin typeface="Verdana" pitchFamily="34" charset="0"/>
                <a:ea typeface="Arial Unicode MS" pitchFamily="34" charset="-128"/>
                <a:cs typeface="Arial Unicode MS" pitchFamily="34" charset="-128"/>
              </a:rPr>
              <a:t>". O governo Getúlio Vargas responde com a assinatura, em outubro de 1953, da Lei 2004 que instituiu a Petróleo Brasileiro S.A (Petrobras) como monopólio estatal de pesquisa e lavra, refino e transporte do petróleo e seus derivados. </a:t>
            </a:r>
            <a:endParaRPr lang="pt-BR" dirty="0" smtClean="0">
              <a:latin typeface="Arial Unicode MS" pitchFamily="34" charset="-128"/>
              <a:ea typeface="Arial Unicode MS" pitchFamily="34" charset="-128"/>
              <a:cs typeface="Arial Unicode MS" pitchFamily="34" charset="-128"/>
            </a:endParaRPr>
          </a:p>
          <a:p>
            <a:pPr eaLnBrk="1" hangingPunct="1"/>
            <a:r>
              <a:rPr lang="pt-BR" b="1" dirty="0" smtClean="0">
                <a:latin typeface="Verdana" pitchFamily="34" charset="0"/>
                <a:ea typeface="Arial Unicode MS" pitchFamily="34" charset="-128"/>
                <a:cs typeface="Arial Unicode MS" pitchFamily="34" charset="-128"/>
              </a:rPr>
              <a:t>O início da indústria do petróleo no Brasil</a:t>
            </a:r>
            <a:r>
              <a:rPr lang="pt-BR" dirty="0" smtClean="0">
                <a:latin typeface="Verdana" pitchFamily="34" charset="0"/>
                <a:ea typeface="Arial Unicode MS" pitchFamily="34" charset="-128"/>
                <a:cs typeface="Arial Unicode MS" pitchFamily="34" charset="-128"/>
              </a:rPr>
              <a:t/>
            </a:r>
            <a:br>
              <a:rPr lang="pt-BR" dirty="0" smtClean="0">
                <a:latin typeface="Verdana" pitchFamily="34" charset="0"/>
                <a:ea typeface="Arial Unicode MS" pitchFamily="34" charset="-128"/>
                <a:cs typeface="Arial Unicode MS" pitchFamily="34" charset="-128"/>
              </a:rPr>
            </a:br>
            <a:r>
              <a:rPr lang="pt-BR" dirty="0" smtClean="0">
                <a:latin typeface="Verdana" pitchFamily="34" charset="0"/>
                <a:ea typeface="Arial Unicode MS" pitchFamily="34" charset="-128"/>
                <a:cs typeface="Arial Unicode MS" pitchFamily="34" charset="-128"/>
              </a:rPr>
              <a:t>Em função do desenvolvimento industrial e da construção de rodovias que interligavam as principais cidades brasileiras, o consumo de combustíveis fósseis aumenta grandemente na década de 50. No período, a produção nacional era de apenas 2.700 barris por dia, enquanto o consumo totalizava 170 mil barris diários, quase todos importados na forma de derivados (combustível já refinado). Esses dados foram publicados por Celso Fernando Lucchesi, no número 33 da </a:t>
            </a:r>
            <a:r>
              <a:rPr lang="pt-BR" i="1" dirty="0" smtClean="0">
                <a:latin typeface="Verdana" pitchFamily="34" charset="0"/>
                <a:ea typeface="Arial Unicode MS" pitchFamily="34" charset="-128"/>
                <a:cs typeface="Arial Unicode MS" pitchFamily="34" charset="-128"/>
              </a:rPr>
              <a:t>Revista do Instituto de Estudos Avançados, </a:t>
            </a:r>
            <a:r>
              <a:rPr lang="pt-BR" dirty="0" smtClean="0">
                <a:latin typeface="Verdana" pitchFamily="34" charset="0"/>
                <a:ea typeface="Arial Unicode MS" pitchFamily="34" charset="-128"/>
                <a:cs typeface="Arial Unicode MS" pitchFamily="34" charset="-128"/>
              </a:rPr>
              <a:t>da USP. A partir da década de 1950, então, a nova empresa intensificou as atividades exploratórias e procurou formar e especializar seu corpo técnico, para atender às exigências da nascente indústria brasileira de petróleo (leia </a:t>
            </a:r>
            <a:r>
              <a:rPr lang="pt-BR" dirty="0" smtClean="0">
                <a:latin typeface="Verdana" pitchFamily="34" charset="0"/>
                <a:ea typeface="Arial Unicode MS" pitchFamily="34" charset="-128"/>
                <a:cs typeface="Arial Unicode MS" pitchFamily="34" charset="-128"/>
                <a:hlinkClick r:id="rId4"/>
              </a:rPr>
              <a:t>reportagem</a:t>
            </a:r>
            <a:r>
              <a:rPr lang="pt-BR" dirty="0" smtClean="0">
                <a:latin typeface="Verdana" pitchFamily="34" charset="0"/>
                <a:ea typeface="Arial Unicode MS" pitchFamily="34" charset="-128"/>
                <a:cs typeface="Arial Unicode MS" pitchFamily="34" charset="-128"/>
              </a:rPr>
              <a:t> sobre capacitação para o setor petrolífero)</a:t>
            </a:r>
            <a:endParaRPr lang="pt-BR" dirty="0" smtClean="0">
              <a:latin typeface="Arial Unicode MS" pitchFamily="34" charset="-128"/>
              <a:ea typeface="Arial Unicode MS" pitchFamily="34" charset="-128"/>
              <a:cs typeface="Arial Unicode MS" pitchFamily="34" charset="-128"/>
            </a:endParaRPr>
          </a:p>
          <a:p>
            <a:pPr eaLnBrk="1" hangingPunct="1"/>
            <a:r>
              <a:rPr lang="pt-BR" dirty="0" smtClean="0">
                <a:latin typeface="Verdana" pitchFamily="34" charset="0"/>
                <a:ea typeface="Arial Unicode MS" pitchFamily="34" charset="-128"/>
                <a:cs typeface="Arial Unicode MS" pitchFamily="34" charset="-128"/>
              </a:rPr>
              <a:t>Com a criação da Petrobras "saímos do zero, já que a indústria [de petróleo antes da Petrobras] era praticamente inexistente", afirma José Lima, gerente executivo de Recursos Humanos da Petrobras.</a:t>
            </a:r>
            <a:endParaRPr lang="pt-BR" dirty="0" smtClean="0">
              <a:latin typeface="Arial Unicode MS" pitchFamily="34" charset="-128"/>
              <a:ea typeface="Arial Unicode MS" pitchFamily="34" charset="-128"/>
              <a:cs typeface="Arial Unicode MS" pitchFamily="34" charset="-128"/>
            </a:endParaRPr>
          </a:p>
          <a:p>
            <a:pPr eaLnBrk="1" hangingPunct="1"/>
            <a:r>
              <a:rPr lang="pt-BR" dirty="0" smtClean="0">
                <a:latin typeface="Verdana" pitchFamily="34" charset="0"/>
                <a:ea typeface="Arial Unicode MS" pitchFamily="34" charset="-128"/>
                <a:cs typeface="Arial Unicode MS" pitchFamily="34" charset="-128"/>
              </a:rPr>
              <a:t>Até 1968, os técnicos vindos de outros países foram, gradativamente, sendo substituídos por técnicos brasileiros, que eram enviados ao exterior para se especializarem. Os esforços eram concentrados na região da Amazônia e do Recôncavo. Quinze anos após a criação da Petrobras, as áreas de exploração se expandiram para a acumulação de </a:t>
            </a:r>
            <a:r>
              <a:rPr lang="pt-BR" dirty="0" err="1" smtClean="0">
                <a:latin typeface="Verdana" pitchFamily="34" charset="0"/>
                <a:ea typeface="Arial Unicode MS" pitchFamily="34" charset="-128"/>
                <a:cs typeface="Arial Unicode MS" pitchFamily="34" charset="-128"/>
              </a:rPr>
              <a:t>Jequiá</a:t>
            </a:r>
            <a:r>
              <a:rPr lang="pt-BR" dirty="0" smtClean="0">
                <a:latin typeface="Verdana" pitchFamily="34" charset="0"/>
                <a:ea typeface="Arial Unicode MS" pitchFamily="34" charset="-128"/>
                <a:cs typeface="Arial Unicode MS" pitchFamily="34" charset="-128"/>
              </a:rPr>
              <a:t>, na bacia de Sergipe-Alagoas, em 1957 e </a:t>
            </a:r>
            <a:r>
              <a:rPr lang="pt-BR" dirty="0" err="1" smtClean="0">
                <a:latin typeface="Verdana" pitchFamily="34" charset="0"/>
                <a:ea typeface="Arial Unicode MS" pitchFamily="34" charset="-128"/>
                <a:cs typeface="Arial Unicode MS" pitchFamily="34" charset="-128"/>
              </a:rPr>
              <a:t>Carmópolis</a:t>
            </a:r>
            <a:r>
              <a:rPr lang="pt-BR" dirty="0" smtClean="0">
                <a:latin typeface="Verdana" pitchFamily="34" charset="0"/>
                <a:ea typeface="Arial Unicode MS" pitchFamily="34" charset="-128"/>
                <a:cs typeface="Arial Unicode MS" pitchFamily="34" charset="-128"/>
              </a:rPr>
              <a:t> (SE), em 1963. Em 1968, a área de exploração atingiu </a:t>
            </a:r>
            <a:r>
              <a:rPr lang="pt-BR" dirty="0" err="1" smtClean="0">
                <a:latin typeface="Verdana" pitchFamily="34" charset="0"/>
                <a:ea typeface="Arial Unicode MS" pitchFamily="34" charset="-128"/>
                <a:cs typeface="Arial Unicode MS" pitchFamily="34" charset="-128"/>
              </a:rPr>
              <a:t>Guaricema</a:t>
            </a:r>
            <a:r>
              <a:rPr lang="pt-BR" dirty="0" smtClean="0">
                <a:latin typeface="Verdana" pitchFamily="34" charset="0"/>
                <a:ea typeface="Arial Unicode MS" pitchFamily="34" charset="-128"/>
                <a:cs typeface="Arial Unicode MS" pitchFamily="34" charset="-128"/>
              </a:rPr>
              <a:t> (SE), o primeiro poço </a:t>
            </a:r>
            <a:r>
              <a:rPr lang="pt-BR" i="1" dirty="0" smtClean="0">
                <a:latin typeface="Verdana" pitchFamily="34" charset="0"/>
                <a:ea typeface="Arial Unicode MS" pitchFamily="34" charset="-128"/>
                <a:cs typeface="Arial Unicode MS" pitchFamily="34" charset="-128"/>
              </a:rPr>
              <a:t>offshore</a:t>
            </a:r>
            <a:r>
              <a:rPr lang="pt-BR" dirty="0" smtClean="0">
                <a:latin typeface="Verdana" pitchFamily="34" charset="0"/>
                <a:ea typeface="Arial Unicode MS" pitchFamily="34" charset="-128"/>
                <a:cs typeface="Arial Unicode MS" pitchFamily="34" charset="-128"/>
              </a:rPr>
              <a:t> (no mar) e Campo de São Matheus (ES), em 1969. Essas descobertas contrariaram os resultados de um relatório divulgado em 1961, pelo geólogo norte-americano Walter Link, contratado pela Petrobras, que concluiu a inexistência de grandes acumulações petrolíferas nas bacias sedimentares brasileiras. Mas </a:t>
            </a:r>
            <a:r>
              <a:rPr lang="pt-BR" dirty="0" err="1" smtClean="0">
                <a:latin typeface="Verdana" pitchFamily="34" charset="0"/>
                <a:ea typeface="Arial Unicode MS" pitchFamily="34" charset="-128"/>
                <a:cs typeface="Arial Unicode MS" pitchFamily="34" charset="-128"/>
              </a:rPr>
              <a:t>Guaricema</a:t>
            </a:r>
            <a:r>
              <a:rPr lang="pt-BR" dirty="0" smtClean="0">
                <a:latin typeface="Verdana" pitchFamily="34" charset="0"/>
                <a:ea typeface="Arial Unicode MS" pitchFamily="34" charset="-128"/>
                <a:cs typeface="Arial Unicode MS" pitchFamily="34" charset="-128"/>
              </a:rPr>
              <a:t>, fruto de investimentos em dados sísmicos e sondas marítimas, injetou novos ânimos nas perspectivas de um Brasil </a:t>
            </a:r>
            <a:r>
              <a:rPr lang="pt-BR" dirty="0" err="1" smtClean="0">
                <a:latin typeface="Verdana" pitchFamily="34" charset="0"/>
                <a:ea typeface="Arial Unicode MS" pitchFamily="34" charset="-128"/>
                <a:cs typeface="Arial Unicode MS" pitchFamily="34" charset="-128"/>
              </a:rPr>
              <a:t>auto-suficiente</a:t>
            </a:r>
            <a:r>
              <a:rPr lang="pt-BR" dirty="0" smtClean="0">
                <a:latin typeface="Verdana" pitchFamily="34" charset="0"/>
                <a:ea typeface="Arial Unicode MS" pitchFamily="34" charset="-128"/>
                <a:cs typeface="Arial Unicode MS" pitchFamily="34" charset="-128"/>
              </a:rPr>
              <a:t>, que passaria a redirecionar suas pesquisas agora para o mar. Ao final de 1968, a indústria brasileira produzia mais de 160 mil barris por dia.</a:t>
            </a:r>
            <a:endParaRPr lang="pt-BR" dirty="0" smtClean="0">
              <a:latin typeface="Arial Unicode MS" pitchFamily="34" charset="-128"/>
              <a:ea typeface="Arial Unicode MS" pitchFamily="34" charset="-128"/>
              <a:cs typeface="Arial Unicode MS" pitchFamily="34" charset="-128"/>
            </a:endParaRPr>
          </a:p>
          <a:p>
            <a:pPr eaLnBrk="1" hangingPunct="1"/>
            <a:r>
              <a:rPr lang="pt-BR" dirty="0" smtClean="0">
                <a:latin typeface="Verdana" pitchFamily="34" charset="0"/>
                <a:ea typeface="Arial Unicode MS" pitchFamily="34" charset="-128"/>
                <a:cs typeface="Arial Unicode MS" pitchFamily="34" charset="-128"/>
              </a:rPr>
              <a:t>Embora a empresa já estivesse melhor estruturada, com profissionais brasileiros mais especializados e com a produção mais incrementada, a alta competitividade do mercado internacional tornava a importação uma atividade irresistível, estacionando a produção nacional, frente a um consumo crescente. O declínio das reservas terrestres e a baixa produção no mar levaram à ampliação dos financiamentos no </a:t>
            </a:r>
            <a:r>
              <a:rPr lang="pt-BR" i="1" dirty="0" err="1" smtClean="0">
                <a:latin typeface="Verdana" pitchFamily="34" charset="0"/>
                <a:ea typeface="Arial Unicode MS" pitchFamily="34" charset="-128"/>
                <a:cs typeface="Arial Unicode MS" pitchFamily="34" charset="-128"/>
              </a:rPr>
              <a:t>downstream</a:t>
            </a:r>
            <a:r>
              <a:rPr lang="pt-BR" dirty="0" smtClean="0">
                <a:latin typeface="Verdana" pitchFamily="34" charset="0"/>
                <a:ea typeface="Arial Unicode MS" pitchFamily="34" charset="-128"/>
                <a:cs typeface="Arial Unicode MS" pitchFamily="34" charset="-128"/>
              </a:rPr>
              <a:t> (refino, transporte e petroquímica) e à criação da </a:t>
            </a:r>
            <a:r>
              <a:rPr lang="pt-BR" dirty="0" err="1" smtClean="0">
                <a:latin typeface="Verdana" pitchFamily="34" charset="0"/>
                <a:ea typeface="Arial Unicode MS" pitchFamily="34" charset="-128"/>
                <a:cs typeface="Arial Unicode MS" pitchFamily="34" charset="-128"/>
              </a:rPr>
              <a:t>Braspetro</a:t>
            </a:r>
            <a:r>
              <a:rPr lang="pt-BR" dirty="0" smtClean="0">
                <a:latin typeface="Verdana" pitchFamily="34" charset="0"/>
                <a:ea typeface="Arial Unicode MS" pitchFamily="34" charset="-128"/>
                <a:cs typeface="Arial Unicode MS" pitchFamily="34" charset="-128"/>
              </a:rPr>
              <a:t> em 1972, com a finalidade de buscar alternativas de abastecimento de petróleo em outros países. Neste ponto, o petróleo já era o peso e a medida de muitas economias do mundo, fato que foi comprovado com a eclosão da primeira crise do petróleo, em 1973, que modificou profundamente as relações de poder das empresas multinacionais, de países consumidores e dos países produtores de petróleo.</a:t>
            </a:r>
            <a:endParaRPr lang="pt-BR" dirty="0" smtClean="0">
              <a:latin typeface="Arial Unicode MS" pitchFamily="34" charset="-128"/>
              <a:ea typeface="Arial Unicode MS" pitchFamily="34" charset="-128"/>
              <a:cs typeface="Arial Unicode MS" pitchFamily="34" charset="-128"/>
            </a:endParaRPr>
          </a:p>
          <a:p>
            <a:pPr eaLnBrk="1" hangingPunct="1"/>
            <a:r>
              <a:rPr lang="pt-BR" dirty="0" smtClean="0">
                <a:latin typeface="Verdana" pitchFamily="34" charset="0"/>
                <a:ea typeface="Arial Unicode MS" pitchFamily="34" charset="-128"/>
                <a:cs typeface="Arial Unicode MS" pitchFamily="34" charset="-128"/>
              </a:rPr>
              <a:t>Em meio à crise mundial, o Brasil descobre o campo marítimo de </a:t>
            </a:r>
            <a:r>
              <a:rPr lang="pt-BR" dirty="0" err="1" smtClean="0">
                <a:latin typeface="Verdana" pitchFamily="34" charset="0"/>
                <a:ea typeface="Arial Unicode MS" pitchFamily="34" charset="-128"/>
                <a:cs typeface="Arial Unicode MS" pitchFamily="34" charset="-128"/>
              </a:rPr>
              <a:t>Ubarana</a:t>
            </a:r>
            <a:r>
              <a:rPr lang="pt-BR" dirty="0" smtClean="0">
                <a:latin typeface="Verdana" pitchFamily="34" charset="0"/>
                <a:ea typeface="Arial Unicode MS" pitchFamily="34" charset="-128"/>
                <a:cs typeface="Arial Unicode MS" pitchFamily="34" charset="-128"/>
              </a:rPr>
              <a:t>, na bacia de Potiguar (ES) e o campo de Garoupa, na Bacia de Campos (RJ), em 1974, que marcaria o início de uma segunda fase dentro da Petrobras, aquela em que a empresa se diferenciaria pela exploração do petróleo em águas profundas e </a:t>
            </a:r>
            <a:r>
              <a:rPr lang="pt-BR" dirty="0" err="1" smtClean="0">
                <a:latin typeface="Verdana" pitchFamily="34" charset="0"/>
                <a:ea typeface="Arial Unicode MS" pitchFamily="34" charset="-128"/>
                <a:cs typeface="Arial Unicode MS" pitchFamily="34" charset="-128"/>
              </a:rPr>
              <a:t>ultraprofundas</a:t>
            </a:r>
            <a:r>
              <a:rPr lang="pt-BR" dirty="0" smtClean="0">
                <a:latin typeface="Verdana" pitchFamily="34" charset="0"/>
                <a:ea typeface="Arial Unicode MS" pitchFamily="34" charset="-128"/>
                <a:cs typeface="Arial Unicode MS" pitchFamily="34" charset="-128"/>
              </a:rPr>
              <a:t>. Em função da bacia de Campos, a produção petrolífera brasileira chega aos 182 mil barris ao dia, sendo reconhecida até os dias atuais como a mais produtiva bacia do país e uma das maiores produtoras de petróleo de águas profundas do mundo. Os primeiros tratados de risco são assinados em 1975, quando o país abre as portas para a entrada de multinacionais para explorarem petróleo com a promessa de trazerem um aporte financeiro que fosse significativo para o país. Apesar das empresas estrangeiras terem o direito de atuar em 86,4% das bacias sedimentares (associadas à presença de jazidas de petróleo) do país, deixando apenas o restante nas mãos da Petrobras, os contratos não produziram e nem trouxeram o capital que prometeram. </a:t>
            </a:r>
            <a:endParaRPr lang="pt-BR" dirty="0" smtClean="0">
              <a:latin typeface="Arial Unicode MS" pitchFamily="34" charset="-128"/>
              <a:ea typeface="Arial Unicode MS" pitchFamily="34" charset="-128"/>
              <a:cs typeface="Arial Unicode MS" pitchFamily="34" charset="-128"/>
            </a:endParaRPr>
          </a:p>
          <a:p>
            <a:pPr eaLnBrk="1" hangingPunct="1"/>
            <a:r>
              <a:rPr lang="pt-BR" dirty="0" smtClean="0">
                <a:latin typeface="Verdana" pitchFamily="34" charset="0"/>
                <a:ea typeface="Arial Unicode MS" pitchFamily="34" charset="-128"/>
                <a:cs typeface="Arial Unicode MS" pitchFamily="34" charset="-128"/>
              </a:rPr>
              <a:t>Fora isso, junte-se o fato da chegada de uma segunda crise do petróleo que voltaria a mexer com as relações internacionais, em 1978, e o cenário petrolífero brasileiro estaria condenado. Ao contrário do que se esperava, o choque do petróleo e os preços quintuplicados, sacudiram a indústria nacional, forçando grandes investimentos na prospecção de jazidas em território brasileiro para reduzir a dependência externa. Os primeiros frutos surgiram em 1981, quando a produção marítima superou a terrestre e, em 1984, quando a produção brasileira se iguala à importada, com meio milhão de barris diários.</a:t>
            </a:r>
            <a:endParaRPr lang="pt-BR" dirty="0" smtClean="0">
              <a:latin typeface="Arial Unicode MS" pitchFamily="34" charset="-128"/>
              <a:ea typeface="Arial Unicode MS" pitchFamily="34" charset="-128"/>
              <a:cs typeface="Arial Unicode MS" pitchFamily="34" charset="-128"/>
            </a:endParaRPr>
          </a:p>
          <a:p>
            <a:pPr eaLnBrk="1" hangingPunct="1"/>
            <a:r>
              <a:rPr lang="pt-BR" dirty="0" smtClean="0">
                <a:latin typeface="Verdana" pitchFamily="34" charset="0"/>
                <a:ea typeface="Arial Unicode MS" pitchFamily="34" charset="-128"/>
                <a:cs typeface="Arial Unicode MS" pitchFamily="34" charset="-128"/>
              </a:rPr>
              <a:t>A promulgação da Constituição em 1988 estabeleceu o fim dos contratos de risco. Neste momento os geólogos e engenheiros da Petrobras já utilizavam a tecnologia da sísmica tridimensional (3D) de maneira rotineira, o que diminuiu o custo exploratório e trouxe importantes descobertas de gás e petróleo nas bacias de Santos (SP), do Solimões (AM) e na região do rio Urucu. </a:t>
            </a:r>
            <a:endParaRPr lang="pt-BR" dirty="0" smtClean="0">
              <a:latin typeface="Arial Unicode MS" pitchFamily="34" charset="-128"/>
              <a:ea typeface="Arial Unicode MS" pitchFamily="34" charset="-128"/>
              <a:cs typeface="Arial Unicode MS" pitchFamily="34" charset="-128"/>
            </a:endParaRPr>
          </a:p>
          <a:p>
            <a:pPr eaLnBrk="1" hangingPunct="1"/>
            <a:r>
              <a:rPr lang="pt-BR" dirty="0" smtClean="0">
                <a:latin typeface="Verdana" pitchFamily="34" charset="0"/>
                <a:ea typeface="Arial Unicode MS" pitchFamily="34" charset="-128"/>
                <a:cs typeface="Arial Unicode MS" pitchFamily="34" charset="-128"/>
              </a:rPr>
              <a:t>A Lei do Petróleo, de 1997, inicia uma nova fase na indústria petrolífera brasileira. Entre as mudanças está a criação da Agência Nacional do Petróleo (ANP), que substituiu a Petrobras nas responsabilidades de ser o órgão executor do gerenciamento do petróleo no país, e na nova tentativa de internacionalização do petróleo no Brasil. Esta Lei permitiu a formação de parcerias com empresas interessadas em participar do processo de abertura do setor, numa tentativa de trazer novos investimentos para o país. </a:t>
            </a:r>
            <a:endParaRPr lang="pt-BR" dirty="0" smtClean="0">
              <a:latin typeface="Arial Unicode MS" pitchFamily="34" charset="-128"/>
              <a:ea typeface="Arial Unicode MS" pitchFamily="34" charset="-128"/>
              <a:cs typeface="Arial Unicode MS" pitchFamily="34" charset="-128"/>
            </a:endParaRPr>
          </a:p>
          <a:p>
            <a:pPr eaLnBrk="1" hangingPunct="1"/>
            <a:r>
              <a:rPr lang="pt-BR" dirty="0" smtClean="0">
                <a:latin typeface="Verdana" pitchFamily="34" charset="0"/>
                <a:cs typeface="Times New Roman" pitchFamily="18" charset="0"/>
              </a:rPr>
              <a:t>Entre as mais de 20 bacias petrolíferas conhecidas no país, a produção ultrapassa 1,8 milhão de barris ao dia. Atualmente, a Petrobras detém o uma das maiores marcas de perfuração exploratória no mar, com um poço em lâmina d'água de 2.777 metros, atrás da Shell e .... Ela exporta a tecnologia de exploração nesses ambientes para vários países.</a:t>
            </a:r>
            <a:r>
              <a:rPr lang="pt-BR" dirty="0" smtClean="0">
                <a:latin typeface="Arial" pitchFamily="34" charset="0"/>
              </a:rPr>
              <a:t> </a:t>
            </a:r>
          </a:p>
        </p:txBody>
      </p:sp>
    </p:spTree>
    <p:extLst>
      <p:ext uri="{BB962C8B-B14F-4D97-AF65-F5344CB8AC3E}">
        <p14:creationId xmlns:p14="http://schemas.microsoft.com/office/powerpoint/2010/main" val="38599368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947738" y="744538"/>
            <a:ext cx="4962525" cy="3722687"/>
          </a:xfrm>
          <a:prstGeom prst="rect">
            <a:avLst/>
          </a:prstGeom>
          <a:noFill/>
          <a:ln w="12700">
            <a:solidFill>
              <a:prstClr val="black"/>
            </a:solidFill>
          </a:ln>
        </p:spPr>
      </p:sp>
      <p:sp>
        <p:nvSpPr>
          <p:cNvPr id="3" name="Espaço Reservado para Anotações 2"/>
          <p:cNvSpPr>
            <a:spLocks noGrp="1"/>
          </p:cNvSpPr>
          <p:nvPr>
            <p:ph type="body" idx="1"/>
          </p:nvPr>
        </p:nvSpPr>
        <p:spPr>
          <a:xfrm>
            <a:off x="686441" y="4715788"/>
            <a:ext cx="5485123" cy="4466670"/>
          </a:xfrm>
          <a:prstGeom prst="rect">
            <a:avLst/>
          </a:prstGeom>
        </p:spPr>
        <p:txBody>
          <a:bodyPr/>
          <a:lstStyle/>
          <a:p>
            <a:r>
              <a:rPr lang="pt-BR" dirty="0" smtClean="0"/>
              <a:t>Ver com</a:t>
            </a:r>
            <a:r>
              <a:rPr lang="pt-BR" baseline="0" dirty="0" smtClean="0"/>
              <a:t> JB</a:t>
            </a:r>
            <a:endParaRPr lang="pt-BR" dirty="0"/>
          </a:p>
        </p:txBody>
      </p:sp>
      <p:sp>
        <p:nvSpPr>
          <p:cNvPr id="4" name="Espaço Reservado para Número de Slide 3"/>
          <p:cNvSpPr>
            <a:spLocks noGrp="1"/>
          </p:cNvSpPr>
          <p:nvPr>
            <p:ph type="sldNum" sz="quarter" idx="10"/>
          </p:nvPr>
        </p:nvSpPr>
        <p:spPr/>
        <p:txBody>
          <a:bodyPr/>
          <a:lstStyle/>
          <a:p>
            <a:pPr>
              <a:defRPr/>
            </a:pPr>
            <a:fld id="{8CF45942-3534-4E02-B2DA-8F06D08CCFFB}" type="slidenum">
              <a:rPr lang="pt-BR" smtClean="0"/>
              <a:pPr>
                <a:defRPr/>
              </a:pPr>
              <a:t>3</a:t>
            </a:fld>
            <a:endParaRPr lang="pt-BR" dirty="0"/>
          </a:p>
        </p:txBody>
      </p:sp>
    </p:spTree>
    <p:extLst>
      <p:ext uri="{BB962C8B-B14F-4D97-AF65-F5344CB8AC3E}">
        <p14:creationId xmlns:p14="http://schemas.microsoft.com/office/powerpoint/2010/main" val="49861732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7.xml"/><Relationship Id="rId9"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hyperlink" Target="http://www.recortecole.com.br/links/BandeiraBrasil.gif"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2_Slide de título">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riângulo retângulo 4"/>
          <p:cNvSpPr/>
          <p:nvPr userDrawn="1"/>
        </p:nvSpPr>
        <p:spPr>
          <a:xfrm rot="10800000" flipH="1">
            <a:off x="0" y="0"/>
            <a:ext cx="4859338" cy="2781300"/>
          </a:xfrm>
          <a:prstGeom prst="rtTriangl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a:solidFill>
                <a:srgbClr val="FFFFFF"/>
              </a:solidFill>
            </a:endParaRPr>
          </a:p>
        </p:txBody>
      </p:sp>
      <p:sp>
        <p:nvSpPr>
          <p:cNvPr id="6" name="Triângulo retângulo 5"/>
          <p:cNvSpPr/>
          <p:nvPr userDrawn="1"/>
        </p:nvSpPr>
        <p:spPr>
          <a:xfrm rot="10800000" flipH="1">
            <a:off x="0" y="0"/>
            <a:ext cx="3635375" cy="2903538"/>
          </a:xfrm>
          <a:prstGeom prst="rtTriangle">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a:solidFill>
                <a:srgbClr val="FFFFFF"/>
              </a:solidFill>
            </a:endParaRPr>
          </a:p>
        </p:txBody>
      </p:sp>
      <p:sp>
        <p:nvSpPr>
          <p:cNvPr id="7" name="Triângulo retângulo 6"/>
          <p:cNvSpPr/>
          <p:nvPr userDrawn="1"/>
        </p:nvSpPr>
        <p:spPr>
          <a:xfrm rot="10800000" flipH="1">
            <a:off x="0" y="0"/>
            <a:ext cx="2879725" cy="3095625"/>
          </a:xfrm>
          <a:prstGeom prst="rtTriangle">
            <a:avLst/>
          </a:prstGeom>
          <a:solidFill>
            <a:srgbClr val="00B05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a:solidFill>
                <a:srgbClr val="FFFFFF"/>
              </a:solidFill>
            </a:endParaRPr>
          </a:p>
        </p:txBody>
      </p:sp>
      <p:pic>
        <p:nvPicPr>
          <p:cNvPr id="8" name="Imagem 7" descr="Brasão da República.png"/>
          <p:cNvPicPr>
            <a:picLocks noChangeAspect="1"/>
          </p:cNvPicPr>
          <p:nvPr userDrawn="1"/>
        </p:nvPicPr>
        <p:blipFill>
          <a:blip r:embed="rId6"/>
          <a:stretch>
            <a:fillRect/>
          </a:stretch>
        </p:blipFill>
        <p:spPr>
          <a:xfrm>
            <a:off x="250825" y="260350"/>
            <a:ext cx="1225550" cy="1223963"/>
          </a:xfrm>
          <a:prstGeom prst="rect">
            <a:avLst/>
          </a:prstGeom>
          <a:effectLst>
            <a:outerShdw blurRad="50800" dist="38100" dir="2700000" algn="tl" rotWithShape="0">
              <a:prstClr val="black">
                <a:alpha val="40000"/>
              </a:prstClr>
            </a:outerShdw>
          </a:effectLst>
        </p:spPr>
      </p:pic>
      <p:sp>
        <p:nvSpPr>
          <p:cNvPr id="2" name="Título 1"/>
          <p:cNvSpPr>
            <a:spLocks noGrp="1"/>
          </p:cNvSpPr>
          <p:nvPr>
            <p:ph type="ctrTitle"/>
          </p:nvPr>
        </p:nvSpPr>
        <p:spPr>
          <a:xfrm>
            <a:off x="685800" y="2130425"/>
            <a:ext cx="7772400" cy="1470025"/>
          </a:xfrm>
          <a:prstGeom prst="rect">
            <a:avLst/>
          </a:prstGeo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pt-BR"/>
          </a:p>
        </p:txBody>
      </p:sp>
      <p:pic>
        <p:nvPicPr>
          <p:cNvPr id="9" name="Picture 2"/>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160127" y="5818498"/>
            <a:ext cx="1732440" cy="9477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7064645" y="5414635"/>
            <a:ext cx="2007855" cy="1419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99337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20_Título e conteúdo">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o 8"/>
          <p:cNvGrpSpPr>
            <a:grpSpLocks/>
          </p:cNvGrpSpPr>
          <p:nvPr userDrawn="1"/>
        </p:nvGrpSpPr>
        <p:grpSpPr bwMode="auto">
          <a:xfrm flipH="1" flipV="1">
            <a:off x="4067175" y="5589588"/>
            <a:ext cx="5076825" cy="1268412"/>
            <a:chOff x="0" y="0"/>
            <a:chExt cx="4860032" cy="3096344"/>
          </a:xfrm>
        </p:grpSpPr>
        <p:sp>
          <p:nvSpPr>
            <p:cNvPr id="6" name="Triângulo retângulo 5"/>
            <p:cNvSpPr/>
            <p:nvPr userDrawn="1"/>
          </p:nvSpPr>
          <p:spPr>
            <a:xfrm rot="10800000" flipH="1">
              <a:off x="0" y="0"/>
              <a:ext cx="4860032" cy="2782448"/>
            </a:xfrm>
            <a:prstGeom prst="rtTriangle">
              <a:avLst/>
            </a:prstGeom>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a:solidFill>
                  <a:srgbClr val="FFFFFF"/>
                </a:solidFill>
              </a:endParaRPr>
            </a:p>
          </p:txBody>
        </p:sp>
        <p:sp>
          <p:nvSpPr>
            <p:cNvPr id="7" name="Triângulo retângulo 6"/>
            <p:cNvSpPr/>
            <p:nvPr userDrawn="1"/>
          </p:nvSpPr>
          <p:spPr>
            <a:xfrm rot="10800000" flipH="1">
              <a:off x="0" y="0"/>
              <a:ext cx="3635146" cy="2902580"/>
            </a:xfrm>
            <a:prstGeom prst="rtTriangle">
              <a:avLst/>
            </a:prstGeom>
            <a:solidFill>
              <a:srgbClr val="FFC000"/>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a:solidFill>
                  <a:srgbClr val="FFFFFF"/>
                </a:solidFill>
              </a:endParaRPr>
            </a:p>
          </p:txBody>
        </p:sp>
        <p:sp>
          <p:nvSpPr>
            <p:cNvPr id="8" name="Triângulo retângulo 7"/>
            <p:cNvSpPr/>
            <p:nvPr userDrawn="1"/>
          </p:nvSpPr>
          <p:spPr>
            <a:xfrm rot="10800000" flipH="1">
              <a:off x="0" y="0"/>
              <a:ext cx="2879850" cy="3096344"/>
            </a:xfrm>
            <a:prstGeom prst="rtTriangle">
              <a:avLst/>
            </a:prstGeom>
            <a:solidFill>
              <a:srgbClr val="00B050"/>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a:solidFill>
                  <a:srgbClr val="FFFFFF"/>
                </a:solidFill>
              </a:endParaRPr>
            </a:p>
          </p:txBody>
        </p:sp>
      </p:grpSp>
      <p:pic>
        <p:nvPicPr>
          <p:cNvPr id="9" name="Imagem 12" descr="Banner IDE-T v3.pn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596188" y="6165850"/>
            <a:ext cx="14351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ítulo 1"/>
          <p:cNvSpPr>
            <a:spLocks noGrp="1"/>
          </p:cNvSpPr>
          <p:nvPr>
            <p:ph type="title"/>
          </p:nvPr>
        </p:nvSpPr>
        <p:spPr>
          <a:xfrm>
            <a:off x="457200" y="274638"/>
            <a:ext cx="8229600" cy="850106"/>
          </a:xfrm>
          <a:prstGeom prst="rect">
            <a:avLst/>
          </a:prstGeom>
        </p:spPr>
        <p:txBody>
          <a:bodyPr/>
          <a:lstStyle>
            <a:lvl1pPr>
              <a:defRPr sz="3600" b="1"/>
            </a:lvl1pPr>
          </a:lstStyle>
          <a:p>
            <a:r>
              <a:rPr lang="pt-BR" dirty="0" smtClean="0"/>
              <a:t>Clique para editar o estilo do título mestre</a:t>
            </a:r>
            <a:endParaRPr lang="pt-BR" dirty="0"/>
          </a:p>
        </p:txBody>
      </p:sp>
      <p:sp>
        <p:nvSpPr>
          <p:cNvPr id="3" name="Espaço Reservado para Conteúdo 2"/>
          <p:cNvSpPr>
            <a:spLocks noGrp="1"/>
          </p:cNvSpPr>
          <p:nvPr>
            <p:ph idx="1"/>
          </p:nvPr>
        </p:nvSpPr>
        <p:spPr>
          <a:xfrm>
            <a:off x="467544" y="1340768"/>
            <a:ext cx="8229600" cy="4825082"/>
          </a:xfrm>
          <a:prstGeom prst="rect">
            <a:avLst/>
          </a:prstGeom>
        </p:spPr>
        <p:txBody>
          <a:bodyPr/>
          <a:lstStyle>
            <a:lvl1pPr>
              <a:defRPr sz="2800"/>
            </a:lvl1pPr>
            <a:lvl2pPr>
              <a:defRPr sz="2400"/>
            </a:lvl2pPr>
            <a:lvl3pPr>
              <a:defRPr sz="2000"/>
            </a:lvl3pPr>
            <a:lvl4pPr>
              <a:defRPr sz="1800"/>
            </a:lvl4pPr>
            <a:lvl5pPr>
              <a:defRPr sz="1800"/>
            </a:lvl5pPr>
          </a:lstStyle>
          <a:p>
            <a:pPr lvl="0"/>
            <a:r>
              <a:rPr lang="pt-BR" dirty="0" smtClean="0"/>
              <a:t>Clique para editar os estilos do texto mestre</a:t>
            </a:r>
          </a:p>
          <a:p>
            <a:pPr lvl="1"/>
            <a:r>
              <a:rPr lang="pt-BR" dirty="0" smtClean="0"/>
              <a:t>Segundo nível</a:t>
            </a:r>
          </a:p>
          <a:p>
            <a:pPr lvl="2"/>
            <a:r>
              <a:rPr lang="pt-BR" dirty="0" smtClean="0"/>
              <a:t>Terceiro nível</a:t>
            </a:r>
          </a:p>
          <a:p>
            <a:pPr lvl="3"/>
            <a:r>
              <a:rPr lang="pt-BR" dirty="0" smtClean="0"/>
              <a:t>Quarto nível</a:t>
            </a:r>
          </a:p>
          <a:p>
            <a:pPr lvl="4"/>
            <a:r>
              <a:rPr lang="pt-BR" dirty="0" smtClean="0"/>
              <a:t>Quinto nível</a:t>
            </a:r>
            <a:endParaRPr lang="pt-BR" dirty="0"/>
          </a:p>
        </p:txBody>
      </p:sp>
    </p:spTree>
    <p:extLst>
      <p:ext uri="{BB962C8B-B14F-4D97-AF65-F5344CB8AC3E}">
        <p14:creationId xmlns:p14="http://schemas.microsoft.com/office/powerpoint/2010/main" val="6108973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3_Título e conteúdo">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9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o 8"/>
          <p:cNvGrpSpPr>
            <a:grpSpLocks/>
          </p:cNvGrpSpPr>
          <p:nvPr userDrawn="1"/>
        </p:nvGrpSpPr>
        <p:grpSpPr bwMode="auto">
          <a:xfrm flipH="1" flipV="1">
            <a:off x="4067175" y="5589588"/>
            <a:ext cx="5076825" cy="1268412"/>
            <a:chOff x="0" y="0"/>
            <a:chExt cx="4860032" cy="3096344"/>
          </a:xfrm>
        </p:grpSpPr>
        <p:sp>
          <p:nvSpPr>
            <p:cNvPr id="6" name="Triângulo retângulo 5"/>
            <p:cNvSpPr/>
            <p:nvPr userDrawn="1"/>
          </p:nvSpPr>
          <p:spPr>
            <a:xfrm rot="10800000" flipH="1">
              <a:off x="0" y="0"/>
              <a:ext cx="4860032" cy="2782448"/>
            </a:xfrm>
            <a:prstGeom prst="rtTriangle">
              <a:avLst/>
            </a:prstGeom>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a:solidFill>
                  <a:srgbClr val="FFFFFF"/>
                </a:solidFill>
              </a:endParaRPr>
            </a:p>
          </p:txBody>
        </p:sp>
        <p:sp>
          <p:nvSpPr>
            <p:cNvPr id="7" name="Triângulo retângulo 6"/>
            <p:cNvSpPr/>
            <p:nvPr userDrawn="1"/>
          </p:nvSpPr>
          <p:spPr>
            <a:xfrm rot="10800000" flipH="1">
              <a:off x="0" y="0"/>
              <a:ext cx="3635146" cy="2902580"/>
            </a:xfrm>
            <a:prstGeom prst="rtTriangle">
              <a:avLst/>
            </a:prstGeom>
            <a:solidFill>
              <a:srgbClr val="FFC000"/>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a:solidFill>
                  <a:srgbClr val="FFFFFF"/>
                </a:solidFill>
              </a:endParaRPr>
            </a:p>
          </p:txBody>
        </p:sp>
        <p:sp>
          <p:nvSpPr>
            <p:cNvPr id="8" name="Triângulo retângulo 7"/>
            <p:cNvSpPr/>
            <p:nvPr userDrawn="1"/>
          </p:nvSpPr>
          <p:spPr>
            <a:xfrm rot="10800000" flipH="1">
              <a:off x="0" y="0"/>
              <a:ext cx="2879850" cy="3096344"/>
            </a:xfrm>
            <a:prstGeom prst="rtTriangle">
              <a:avLst/>
            </a:prstGeom>
            <a:solidFill>
              <a:srgbClr val="00B050"/>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a:solidFill>
                  <a:srgbClr val="FFFFFF"/>
                </a:solidFill>
              </a:endParaRPr>
            </a:p>
          </p:txBody>
        </p:sp>
      </p:grpSp>
      <p:pic>
        <p:nvPicPr>
          <p:cNvPr id="9" name="Imagem 12" descr="Banner IDE-T v3.pn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596188" y="6165850"/>
            <a:ext cx="14351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ítulo 1"/>
          <p:cNvSpPr>
            <a:spLocks noGrp="1"/>
          </p:cNvSpPr>
          <p:nvPr>
            <p:ph type="title"/>
          </p:nvPr>
        </p:nvSpPr>
        <p:spPr>
          <a:xfrm>
            <a:off x="457200" y="274638"/>
            <a:ext cx="8229600" cy="850106"/>
          </a:xfrm>
          <a:prstGeom prst="rect">
            <a:avLst/>
          </a:prstGeom>
        </p:spPr>
        <p:txBody>
          <a:bodyPr/>
          <a:lstStyle>
            <a:lvl1pPr>
              <a:defRPr sz="3600" b="1"/>
            </a:lvl1pPr>
          </a:lstStyle>
          <a:p>
            <a:r>
              <a:rPr lang="pt-BR" dirty="0" smtClean="0"/>
              <a:t>Clique para editar o estilo do título mestre</a:t>
            </a:r>
            <a:endParaRPr lang="pt-BR" dirty="0"/>
          </a:p>
        </p:txBody>
      </p:sp>
    </p:spTree>
    <p:extLst>
      <p:ext uri="{BB962C8B-B14F-4D97-AF65-F5344CB8AC3E}">
        <p14:creationId xmlns:p14="http://schemas.microsoft.com/office/powerpoint/2010/main" val="2097347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1_Título e conteúdo">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o 8"/>
          <p:cNvGrpSpPr>
            <a:grpSpLocks/>
          </p:cNvGrpSpPr>
          <p:nvPr userDrawn="1"/>
        </p:nvGrpSpPr>
        <p:grpSpPr bwMode="auto">
          <a:xfrm flipH="1" flipV="1">
            <a:off x="4067175" y="5589588"/>
            <a:ext cx="5076825" cy="1268412"/>
            <a:chOff x="0" y="0"/>
            <a:chExt cx="4860032" cy="3096344"/>
          </a:xfrm>
        </p:grpSpPr>
        <p:sp>
          <p:nvSpPr>
            <p:cNvPr id="6" name="Triângulo retângulo 5"/>
            <p:cNvSpPr/>
            <p:nvPr userDrawn="1"/>
          </p:nvSpPr>
          <p:spPr>
            <a:xfrm rot="10800000" flipH="1">
              <a:off x="0" y="0"/>
              <a:ext cx="4860032" cy="2782448"/>
            </a:xfrm>
            <a:prstGeom prst="rtTriangle">
              <a:avLst/>
            </a:prstGeom>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a:solidFill>
                  <a:srgbClr val="FFFFFF"/>
                </a:solidFill>
              </a:endParaRPr>
            </a:p>
          </p:txBody>
        </p:sp>
        <p:sp>
          <p:nvSpPr>
            <p:cNvPr id="7" name="Triângulo retângulo 6"/>
            <p:cNvSpPr/>
            <p:nvPr userDrawn="1"/>
          </p:nvSpPr>
          <p:spPr>
            <a:xfrm rot="10800000" flipH="1">
              <a:off x="0" y="0"/>
              <a:ext cx="3635146" cy="2902580"/>
            </a:xfrm>
            <a:prstGeom prst="rtTriangle">
              <a:avLst/>
            </a:prstGeom>
            <a:solidFill>
              <a:srgbClr val="FFC000"/>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a:solidFill>
                  <a:srgbClr val="FFFFFF"/>
                </a:solidFill>
              </a:endParaRPr>
            </a:p>
          </p:txBody>
        </p:sp>
        <p:sp>
          <p:nvSpPr>
            <p:cNvPr id="8" name="Triângulo retângulo 7"/>
            <p:cNvSpPr/>
            <p:nvPr userDrawn="1"/>
          </p:nvSpPr>
          <p:spPr>
            <a:xfrm rot="10800000" flipH="1">
              <a:off x="0" y="0"/>
              <a:ext cx="2879850" cy="3096344"/>
            </a:xfrm>
            <a:prstGeom prst="rtTriangle">
              <a:avLst/>
            </a:prstGeom>
            <a:solidFill>
              <a:srgbClr val="00B050"/>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a:solidFill>
                  <a:srgbClr val="FFFFFF"/>
                </a:solidFill>
              </a:endParaRPr>
            </a:p>
          </p:txBody>
        </p:sp>
      </p:grpSp>
      <p:pic>
        <p:nvPicPr>
          <p:cNvPr id="9" name="Imagem 12" descr="Banner IDE-T v3.pn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596188" y="6165850"/>
            <a:ext cx="14351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ítulo 1"/>
          <p:cNvSpPr>
            <a:spLocks noGrp="1"/>
          </p:cNvSpPr>
          <p:nvPr>
            <p:ph type="title"/>
          </p:nvPr>
        </p:nvSpPr>
        <p:spPr>
          <a:xfrm>
            <a:off x="457200" y="2826060"/>
            <a:ext cx="8229600" cy="1143000"/>
          </a:xfrm>
          <a:prstGeom prst="rect">
            <a:avLst/>
          </a:prstGeom>
        </p:spPr>
        <p:txBody>
          <a:bodyPr/>
          <a:lstStyle>
            <a:lvl1pPr>
              <a:defRPr sz="4000" b="1"/>
            </a:lvl1pPr>
          </a:lstStyle>
          <a:p>
            <a:r>
              <a:rPr lang="pt-BR" dirty="0" smtClean="0"/>
              <a:t>Clique para editar o estilo do título mestre</a:t>
            </a:r>
            <a:endParaRPr lang="pt-BR" dirty="0"/>
          </a:p>
        </p:txBody>
      </p:sp>
    </p:spTree>
    <p:extLst>
      <p:ext uri="{BB962C8B-B14F-4D97-AF65-F5344CB8AC3E}">
        <p14:creationId xmlns:p14="http://schemas.microsoft.com/office/powerpoint/2010/main" val="2055654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5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 name="Object 4"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55"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cNvSpPr txBox="1">
            <a:spLocks/>
          </p:cNvSpPr>
          <p:nvPr userDrawn="1"/>
        </p:nvSpPr>
        <p:spPr>
          <a:xfrm>
            <a:off x="8720138" y="6565900"/>
            <a:ext cx="212725" cy="155575"/>
          </a:xfrm>
          <a:prstGeom prst="rect">
            <a:avLst/>
          </a:prstGeom>
        </p:spPr>
        <p:txBody>
          <a:bodyPr wrap="none" lIns="0" tIns="0" rIns="0" bIns="0" anchor="ctr"/>
          <a:lstStyle>
            <a:defPPr>
              <a:defRPr lang="en-US"/>
            </a:defPPr>
            <a:lvl1pPr>
              <a:defRPr sz="1000" baseline="0">
                <a:latin typeface="+mn-lt"/>
              </a:defRPr>
            </a:lvl1pPr>
          </a:lstStyle>
          <a:p>
            <a:pPr>
              <a:defRPr/>
            </a:pPr>
            <a:fld id="{9D2B7EEA-96BE-4E02-91B5-AF7767B75D6C}" type="slidenum">
              <a:rPr lang="pt-BR" sz="1020" smtClean="0">
                <a:solidFill>
                  <a:srgbClr val="FFFFFF"/>
                </a:solidFill>
                <a:cs typeface="Arial"/>
              </a:rPr>
              <a:pPr>
                <a:defRPr/>
              </a:pPr>
              <a:t>‹nº›</a:t>
            </a:fld>
            <a:endParaRPr lang="pt-BR" sz="1020" dirty="0">
              <a:solidFill>
                <a:srgbClr val="FFFFFF"/>
              </a:solidFill>
              <a:cs typeface="Arial"/>
            </a:endParaRPr>
          </a:p>
        </p:txBody>
      </p:sp>
      <p:sp>
        <p:nvSpPr>
          <p:cNvPr id="6" name="SlideLogoSeparator"/>
          <p:cNvSpPr>
            <a:spLocks noChangeArrowheads="1"/>
          </p:cNvSpPr>
          <p:nvPr userDrawn="1">
            <p:custDataLst>
              <p:tags r:id="rId4"/>
            </p:custDataLst>
          </p:nvPr>
        </p:nvSpPr>
        <p:spPr bwMode="auto">
          <a:xfrm>
            <a:off x="8589963" y="6534150"/>
            <a:ext cx="41275" cy="185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r" defTabSz="913526">
              <a:defRPr/>
            </a:pPr>
            <a:r>
              <a:rPr lang="pt-BR" sz="1224">
                <a:solidFill>
                  <a:srgbClr val="FFFFFF"/>
                </a:solidFill>
                <a:latin typeface="Arial"/>
                <a:cs typeface="Arial"/>
              </a:rPr>
              <a:t>|</a:t>
            </a:r>
            <a:endParaRPr lang="pt-BR" sz="1224" dirty="0">
              <a:solidFill>
                <a:srgbClr val="FFFFFF"/>
              </a:solidFill>
              <a:latin typeface="Arial"/>
              <a:cs typeface="Arial"/>
            </a:endParaRPr>
          </a:p>
        </p:txBody>
      </p:sp>
      <p:sp>
        <p:nvSpPr>
          <p:cNvPr id="2" name="2. Slide Title"/>
          <p:cNvSpPr>
            <a:spLocks noGrp="1"/>
          </p:cNvSpPr>
          <p:nvPr>
            <p:ph type="title" hasCustomPrompt="1"/>
          </p:nvPr>
        </p:nvSpPr>
        <p:spPr>
          <a:xfrm>
            <a:off x="457200" y="274638"/>
            <a:ext cx="8229600" cy="850106"/>
          </a:xfrm>
          <a:prstGeom prst="rect">
            <a:avLst/>
          </a:prstGeom>
        </p:spPr>
        <p:txBody>
          <a:bodyPr/>
          <a:lstStyle>
            <a:lvl1pPr>
              <a:defRPr sz="3600" b="1"/>
            </a:lvl1pPr>
          </a:lstStyle>
          <a:p>
            <a:r>
              <a:rPr lang="pt-BR" dirty="0" smtClean="0"/>
              <a:t>Clique para editar o estilo do título mestre</a:t>
            </a:r>
            <a:endParaRPr lang="pt-BR" noProof="0" dirty="0"/>
          </a:p>
        </p:txBody>
      </p:sp>
    </p:spTree>
    <p:extLst>
      <p:ext uri="{BB962C8B-B14F-4D97-AF65-F5344CB8AC3E}">
        <p14:creationId xmlns:p14="http://schemas.microsoft.com/office/powerpoint/2010/main" val="29711707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628650" y="365125"/>
            <a:ext cx="7886700" cy="1325563"/>
          </a:xfrm>
          <a:prstGeom prst="rect">
            <a:avLst/>
          </a:prstGeom>
        </p:spPr>
        <p:txBody>
          <a:bodyPr/>
          <a:lstStyle/>
          <a:p>
            <a:r>
              <a:rPr lang="pt-BR" smtClean="0"/>
              <a:t>Clique para editar o título mestre</a:t>
            </a:r>
            <a:endParaRPr lang="pt-BR"/>
          </a:p>
        </p:txBody>
      </p:sp>
      <p:sp>
        <p:nvSpPr>
          <p:cNvPr id="3" name="Espaço Reservado para Conteúdo 2"/>
          <p:cNvSpPr>
            <a:spLocks noGrp="1"/>
          </p:cNvSpPr>
          <p:nvPr>
            <p:ph sz="half" idx="1"/>
          </p:nvPr>
        </p:nvSpPr>
        <p:spPr>
          <a:xfrm>
            <a:off x="628650" y="1825625"/>
            <a:ext cx="3867150" cy="4351338"/>
          </a:xfrm>
          <a:prstGeom prst="rect">
            <a:avLst/>
          </a:prstGeom>
        </p:spPr>
        <p:txBody>
          <a:body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825625"/>
            <a:ext cx="3867150" cy="4351338"/>
          </a:xfrm>
          <a:prstGeom prst="rect">
            <a:avLst/>
          </a:prstGeom>
        </p:spPr>
        <p:txBody>
          <a:body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4"/>
          <p:cNvSpPr>
            <a:spLocks noGrp="1"/>
          </p:cNvSpPr>
          <p:nvPr>
            <p:ph type="dt" sz="half" idx="10"/>
          </p:nvPr>
        </p:nvSpPr>
        <p:spPr>
          <a:xfrm>
            <a:off x="628650" y="6356350"/>
            <a:ext cx="20574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Arial" pitchFamily="34" charset="0"/>
              </a:defRPr>
            </a:lvl1pPr>
          </a:lstStyle>
          <a:p>
            <a:pPr>
              <a:defRPr/>
            </a:pPr>
            <a:fld id="{24278686-1D1D-46D0-BE15-40D5CF84881B}" type="datetime1">
              <a:rPr lang="pt-BR" altLang="pt-BR"/>
              <a:pPr>
                <a:defRPr/>
              </a:pPr>
              <a:t>03/10/2016</a:t>
            </a:fld>
            <a:endParaRPr lang="pt-BR" altLang="pt-BR"/>
          </a:p>
        </p:txBody>
      </p:sp>
      <p:sp>
        <p:nvSpPr>
          <p:cNvPr id="6" name="Espaço Reservado para Rodapé 5"/>
          <p:cNvSpPr>
            <a:spLocks noGrp="1"/>
          </p:cNvSpPr>
          <p:nvPr>
            <p:ph type="ftr" sz="quarter" idx="11"/>
          </p:nvPr>
        </p:nvSpPr>
        <p:spPr>
          <a:xfrm>
            <a:off x="3028950" y="6356350"/>
            <a:ext cx="30861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Arial" charset="0"/>
                <a:ea typeface="ＭＳ Ｐゴシック" charset="0"/>
                <a:cs typeface="ＭＳ Ｐゴシック" charset="0"/>
              </a:defRPr>
            </a:lvl1pPr>
          </a:lstStyle>
          <a:p>
            <a:pPr>
              <a:defRPr/>
            </a:pPr>
            <a:endParaRPr lang="en-US"/>
          </a:p>
        </p:txBody>
      </p:sp>
      <p:sp>
        <p:nvSpPr>
          <p:cNvPr id="7" name="Espaço Reservado para Número de Slide 6"/>
          <p:cNvSpPr>
            <a:spLocks noGrp="1"/>
          </p:cNvSpPr>
          <p:nvPr>
            <p:ph type="sldNum" sz="quarter" idx="12"/>
          </p:nvPr>
        </p:nvSpPr>
        <p:spPr>
          <a:xfrm>
            <a:off x="6457950" y="6356350"/>
            <a:ext cx="20574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Arial" pitchFamily="34" charset="0"/>
              </a:defRPr>
            </a:lvl1pPr>
          </a:lstStyle>
          <a:p>
            <a:pPr>
              <a:defRPr/>
            </a:pPr>
            <a:fld id="{AADD9257-A3CA-44EB-BDBA-0CC8FBC4E93F}" type="slidenum">
              <a:rPr lang="pt-BR" altLang="pt-BR"/>
              <a:pPr>
                <a:defRPr/>
              </a:pPr>
              <a:t>‹nº›</a:t>
            </a:fld>
            <a:endParaRPr lang="pt-BR" altLang="pt-BR"/>
          </a:p>
        </p:txBody>
      </p:sp>
    </p:spTree>
    <p:extLst>
      <p:ext uri="{BB962C8B-B14F-4D97-AF65-F5344CB8AC3E}">
        <p14:creationId xmlns:p14="http://schemas.microsoft.com/office/powerpoint/2010/main" val="7381839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498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Slide de título">
    <p:spTree>
      <p:nvGrpSpPr>
        <p:cNvPr id="1" name=""/>
        <p:cNvGrpSpPr/>
        <p:nvPr/>
      </p:nvGrpSpPr>
      <p:grpSpPr>
        <a:xfrm>
          <a:off x="0" y="0"/>
          <a:ext cx="0" cy="0"/>
          <a:chOff x="0" y="0"/>
          <a:chExt cx="0" cy="0"/>
        </a:xfrm>
      </p:grpSpPr>
      <p:sp>
        <p:nvSpPr>
          <p:cNvPr id="12" name="Rectangle 9"/>
          <p:cNvSpPr>
            <a:spLocks noChangeArrowheads="1"/>
          </p:cNvSpPr>
          <p:nvPr/>
        </p:nvSpPr>
        <p:spPr bwMode="auto">
          <a:xfrm>
            <a:off x="161925" y="323850"/>
            <a:ext cx="8820150" cy="6391275"/>
          </a:xfrm>
          <a:prstGeom prst="rect">
            <a:avLst/>
          </a:prstGeom>
          <a:noFill/>
          <a:ln w="19050">
            <a:solidFill>
              <a:srgbClr val="008000"/>
            </a:solidFill>
            <a:miter lim="800000"/>
            <a:headEnd/>
            <a:tailEnd/>
          </a:ln>
          <a:effectLst/>
        </p:spPr>
        <p:txBody>
          <a:bodyPr wrap="none" anchor="ctr"/>
          <a:lstStyle/>
          <a:p>
            <a:pPr fontAlgn="auto">
              <a:spcBef>
                <a:spcPts val="0"/>
              </a:spcBef>
              <a:spcAft>
                <a:spcPts val="0"/>
              </a:spcAft>
              <a:defRPr/>
            </a:pPr>
            <a:endParaRPr lang="en-US"/>
          </a:p>
        </p:txBody>
      </p:sp>
      <p:sp>
        <p:nvSpPr>
          <p:cNvPr id="13" name="Text Box 7"/>
          <p:cNvSpPr txBox="1">
            <a:spLocks noChangeArrowheads="1"/>
          </p:cNvSpPr>
          <p:nvPr/>
        </p:nvSpPr>
        <p:spPr bwMode="auto">
          <a:xfrm>
            <a:off x="1009650" y="155575"/>
            <a:ext cx="1350963" cy="396875"/>
          </a:xfrm>
          <a:prstGeom prst="rect">
            <a:avLst/>
          </a:prstGeom>
          <a:solidFill>
            <a:schemeClr val="bg1"/>
          </a:solidFill>
          <a:ln w="9525">
            <a:noFill/>
            <a:miter lim="800000"/>
            <a:headEnd/>
            <a:tailEnd/>
          </a:ln>
          <a:effectLst/>
        </p:spPr>
        <p:txBody>
          <a:bodyPr>
            <a:spAutoFit/>
          </a:bodyPr>
          <a:lstStyle/>
          <a:p>
            <a:pPr algn="ctr" fontAlgn="auto">
              <a:spcBef>
                <a:spcPts val="0"/>
              </a:spcBef>
              <a:spcAft>
                <a:spcPts val="0"/>
              </a:spcAft>
              <a:defRPr/>
            </a:pPr>
            <a:r>
              <a:rPr lang="pt-BR" sz="1000">
                <a:latin typeface="Century Gothic" pitchFamily="34" charset="0"/>
              </a:rPr>
              <a:t>Ministério de </a:t>
            </a:r>
          </a:p>
          <a:p>
            <a:pPr algn="ctr" fontAlgn="auto">
              <a:spcBef>
                <a:spcPts val="0"/>
              </a:spcBef>
              <a:spcAft>
                <a:spcPts val="0"/>
              </a:spcAft>
              <a:defRPr/>
            </a:pPr>
            <a:r>
              <a:rPr lang="pt-BR" sz="1000">
                <a:latin typeface="Century Gothic" pitchFamily="34" charset="0"/>
              </a:rPr>
              <a:t>Minas e Energia</a:t>
            </a:r>
          </a:p>
        </p:txBody>
      </p:sp>
      <p:pic>
        <p:nvPicPr>
          <p:cNvPr id="14" name="Picture 8" descr="BandeiraBrasil">
            <a:hlinkClick r:id="rId2"/>
          </p:cNvPr>
          <p:cNvPicPr>
            <a:picLocks noChangeAspect="1" noChangeArrowheads="1"/>
          </p:cNvPicPr>
          <p:nvPr/>
        </p:nvPicPr>
        <p:blipFill>
          <a:blip r:embed="rId3" cstate="print"/>
          <a:srcRect/>
          <a:stretch>
            <a:fillRect/>
          </a:stretch>
        </p:blipFill>
        <p:spPr bwMode="auto">
          <a:xfrm>
            <a:off x="341313" y="142875"/>
            <a:ext cx="809625" cy="495300"/>
          </a:xfrm>
          <a:prstGeom prst="rect">
            <a:avLst/>
          </a:prstGeom>
          <a:noFill/>
          <a:ln w="9525">
            <a:noFill/>
            <a:miter lim="800000"/>
            <a:headEnd/>
            <a:tailEnd/>
          </a:ln>
        </p:spPr>
      </p:pic>
    </p:spTree>
    <p:extLst>
      <p:ext uri="{BB962C8B-B14F-4D97-AF65-F5344CB8AC3E}">
        <p14:creationId xmlns:p14="http://schemas.microsoft.com/office/powerpoint/2010/main" val="999053818"/>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46413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8" r:id="rId3"/>
    <p:sldLayoutId id="2147483663" r:id="rId4"/>
    <p:sldLayoutId id="2147483664" r:id="rId5"/>
    <p:sldLayoutId id="2147483666" r:id="rId6"/>
    <p:sldLayoutId id="2147483683" r:id="rId7"/>
    <p:sldLayoutId id="2147483684" r:id="rId8"/>
  </p:sldLayoutIdLst>
  <p:timing>
    <p:tnLst>
      <p:par>
        <p:cTn id="1" dur="indefinite" restart="never" nodeType="tmRoot"/>
      </p:par>
    </p:tnLst>
  </p:timing>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Calibri" pitchFamily="34" charset="0"/>
        </a:defRPr>
      </a:lvl2pPr>
      <a:lvl3pPr algn="ctr" rtl="0" eaLnBrk="0" fontAlgn="base" hangingPunct="0">
        <a:spcBef>
          <a:spcPct val="0"/>
        </a:spcBef>
        <a:spcAft>
          <a:spcPct val="0"/>
        </a:spcAft>
        <a:defRPr sz="4400">
          <a:solidFill>
            <a:schemeClr val="tx2"/>
          </a:solidFill>
          <a:latin typeface="Calibri" pitchFamily="34" charset="0"/>
        </a:defRPr>
      </a:lvl3pPr>
      <a:lvl4pPr algn="ctr" rtl="0" eaLnBrk="0" fontAlgn="base" hangingPunct="0">
        <a:spcBef>
          <a:spcPct val="0"/>
        </a:spcBef>
        <a:spcAft>
          <a:spcPct val="0"/>
        </a:spcAft>
        <a:defRPr sz="4400">
          <a:solidFill>
            <a:schemeClr val="tx2"/>
          </a:solidFill>
          <a:latin typeface="Calibri" pitchFamily="34" charset="0"/>
        </a:defRPr>
      </a:lvl4pPr>
      <a:lvl5pPr algn="ctr" rtl="0" eaLnBrk="0" fontAlgn="base" hangingPunct="0">
        <a:spcBef>
          <a:spcPct val="0"/>
        </a:spcBef>
        <a:spcAft>
          <a:spcPct val="0"/>
        </a:spcAft>
        <a:defRPr sz="4400">
          <a:solidFill>
            <a:schemeClr val="tx2"/>
          </a:solidFill>
          <a:latin typeface="Calibri" pitchFamily="34"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p:cNvSpPr>
            <a:spLocks noGrp="1"/>
          </p:cNvSpPr>
          <p:nvPr>
            <p:ph type="ctrTitle"/>
          </p:nvPr>
        </p:nvSpPr>
        <p:spPr/>
        <p:txBody>
          <a:bodyPr/>
          <a:lstStyle/>
          <a:p>
            <a:r>
              <a:rPr lang="pt-BR" dirty="0" smtClean="0"/>
              <a:t>Panorama de Petróleo e Gás no Brasil e Investimentos em P,D&amp;I</a:t>
            </a:r>
            <a:endParaRPr lang="pt-BR" dirty="0"/>
          </a:p>
        </p:txBody>
      </p:sp>
      <p:sp>
        <p:nvSpPr>
          <p:cNvPr id="5" name="Subtítulo 4"/>
          <p:cNvSpPr>
            <a:spLocks noGrp="1"/>
          </p:cNvSpPr>
          <p:nvPr>
            <p:ph type="subTitle" idx="1"/>
          </p:nvPr>
        </p:nvSpPr>
        <p:spPr>
          <a:xfrm>
            <a:off x="1403648" y="4221088"/>
            <a:ext cx="6400800" cy="1326274"/>
          </a:xfrm>
        </p:spPr>
        <p:txBody>
          <a:bodyPr/>
          <a:lstStyle/>
          <a:p>
            <a:r>
              <a:rPr lang="pt-BR" sz="2400" b="1" dirty="0" smtClean="0">
                <a:solidFill>
                  <a:schemeClr val="tx1"/>
                </a:solidFill>
              </a:rPr>
              <a:t>Clayton de Souza Pontes</a:t>
            </a:r>
          </a:p>
          <a:p>
            <a:r>
              <a:rPr lang="pt-BR" sz="2000" b="1" dirty="0" smtClean="0">
                <a:solidFill>
                  <a:schemeClr val="tx1"/>
                </a:solidFill>
              </a:rPr>
              <a:t>Coordenador-Geral da Secretaria de Petróleo, Gás Natural e Combustíveis Renováveis</a:t>
            </a:r>
            <a:endParaRPr lang="pt-BR" sz="2000" b="1" dirty="0">
              <a:solidFill>
                <a:schemeClr val="tx1"/>
              </a:solidFill>
            </a:endParaRPr>
          </a:p>
        </p:txBody>
      </p:sp>
      <p:sp>
        <p:nvSpPr>
          <p:cNvPr id="2" name="CaixaDeTexto 1"/>
          <p:cNvSpPr txBox="1"/>
          <p:nvPr/>
        </p:nvSpPr>
        <p:spPr>
          <a:xfrm>
            <a:off x="251520" y="5589240"/>
            <a:ext cx="4940391" cy="646331"/>
          </a:xfrm>
          <a:prstGeom prst="rect">
            <a:avLst/>
          </a:prstGeom>
          <a:noFill/>
        </p:spPr>
        <p:txBody>
          <a:bodyPr wrap="none" rtlCol="0">
            <a:spAutoFit/>
          </a:bodyPr>
          <a:lstStyle/>
          <a:p>
            <a:r>
              <a:rPr lang="pt-BR" dirty="0" smtClean="0"/>
              <a:t>Audiência Pública CCT/SF, sobre o PLS nº 696/2015</a:t>
            </a:r>
          </a:p>
          <a:p>
            <a:r>
              <a:rPr lang="pt-BR" dirty="0" smtClean="0"/>
              <a:t>Brasília, 04/10/2016</a:t>
            </a:r>
            <a:endParaRPr lang="pt-BR" dirty="0"/>
          </a:p>
        </p:txBody>
      </p:sp>
    </p:spTree>
    <p:extLst>
      <p:ext uri="{BB962C8B-B14F-4D97-AF65-F5344CB8AC3E}">
        <p14:creationId xmlns:p14="http://schemas.microsoft.com/office/powerpoint/2010/main" val="28005080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a:xfrm>
            <a:off x="157850" y="188640"/>
            <a:ext cx="8528950" cy="778098"/>
          </a:xfrm>
        </p:spPr>
        <p:txBody>
          <a:bodyPr/>
          <a:lstStyle/>
          <a:p>
            <a:r>
              <a:rPr lang="pt-BR" sz="2800" dirty="0" smtClean="0"/>
              <a:t>Recursos P,D&amp;I por Área – </a:t>
            </a:r>
            <a:r>
              <a:rPr lang="pt-BR" sz="2800" dirty="0" err="1" smtClean="0"/>
              <a:t>Óleo&amp;Gás</a:t>
            </a:r>
            <a:r>
              <a:rPr lang="pt-BR" sz="2800" dirty="0"/>
              <a:t> </a:t>
            </a:r>
            <a:r>
              <a:rPr lang="pt-BR" sz="2800" dirty="0" smtClean="0"/>
              <a:t>(2006-2016*)</a:t>
            </a:r>
            <a:endParaRPr lang="pt-BR" sz="2800" dirty="0"/>
          </a:p>
        </p:txBody>
      </p:sp>
      <p:sp>
        <p:nvSpPr>
          <p:cNvPr id="2" name="Retângulo 1"/>
          <p:cNvSpPr/>
          <p:nvPr/>
        </p:nvSpPr>
        <p:spPr>
          <a:xfrm>
            <a:off x="157849" y="6472364"/>
            <a:ext cx="7294469" cy="276999"/>
          </a:xfrm>
          <a:prstGeom prst="rect">
            <a:avLst/>
          </a:prstGeom>
        </p:spPr>
        <p:txBody>
          <a:bodyPr wrap="square">
            <a:spAutoFit/>
          </a:bodyPr>
          <a:lstStyle/>
          <a:p>
            <a:r>
              <a:rPr lang="pt-BR" sz="1200" dirty="0" smtClean="0"/>
              <a:t>Fonte: ANP, </a:t>
            </a:r>
            <a:r>
              <a:rPr lang="pt-BR" sz="1200" dirty="0" err="1" smtClean="0"/>
              <a:t>ago</a:t>
            </a:r>
            <a:r>
              <a:rPr lang="pt-BR" sz="1200" dirty="0" smtClean="0"/>
              <a:t>/2016  http</a:t>
            </a:r>
            <a:r>
              <a:rPr lang="pt-BR" sz="1200" dirty="0"/>
              <a:t>://anp.gov.br/?pg=82607&amp;m=&amp;t1=&amp;t2=&amp;t3=&amp;t4=&amp;ar=&amp;ps=&amp;1475258770722</a:t>
            </a:r>
          </a:p>
        </p:txBody>
      </p:sp>
      <p:sp>
        <p:nvSpPr>
          <p:cNvPr id="4" name="CaixaDeTexto 3"/>
          <p:cNvSpPr txBox="1"/>
          <p:nvPr/>
        </p:nvSpPr>
        <p:spPr>
          <a:xfrm>
            <a:off x="352268" y="5061567"/>
            <a:ext cx="1928926" cy="369332"/>
          </a:xfrm>
          <a:prstGeom prst="rect">
            <a:avLst/>
          </a:prstGeom>
          <a:noFill/>
        </p:spPr>
        <p:txBody>
          <a:bodyPr wrap="none" rtlCol="0">
            <a:spAutoFit/>
          </a:bodyPr>
          <a:lstStyle/>
          <a:p>
            <a:r>
              <a:rPr lang="pt-BR" dirty="0" smtClean="0"/>
              <a:t>* - até julho/2016</a:t>
            </a:r>
            <a:endParaRPr lang="pt-BR" dirty="0"/>
          </a:p>
        </p:txBody>
      </p:sp>
      <p:pic>
        <p:nvPicPr>
          <p:cNvPr id="819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6288" t="38421" r="27920" b="22491"/>
          <a:stretch/>
        </p:blipFill>
        <p:spPr bwMode="auto">
          <a:xfrm>
            <a:off x="157849" y="1556792"/>
            <a:ext cx="8893457" cy="3504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447778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a:xfrm>
            <a:off x="457200" y="116632"/>
            <a:ext cx="8229600" cy="850106"/>
          </a:xfrm>
        </p:spPr>
        <p:txBody>
          <a:bodyPr/>
          <a:lstStyle/>
          <a:p>
            <a:r>
              <a:rPr lang="pt-BR" sz="3200" dirty="0"/>
              <a:t>Prêmio ANP de Inovação </a:t>
            </a:r>
            <a:r>
              <a:rPr lang="pt-BR" sz="3200" dirty="0" smtClean="0"/>
              <a:t>Tecnológica 2016</a:t>
            </a:r>
            <a:endParaRPr lang="pt-BR" sz="3200" dirty="0"/>
          </a:p>
        </p:txBody>
      </p:sp>
      <p:sp>
        <p:nvSpPr>
          <p:cNvPr id="4" name="Espaço Reservado para Conteúdo 3"/>
          <p:cNvSpPr>
            <a:spLocks noGrp="1"/>
          </p:cNvSpPr>
          <p:nvPr>
            <p:ph idx="1"/>
          </p:nvPr>
        </p:nvSpPr>
        <p:spPr>
          <a:xfrm>
            <a:off x="386172" y="852091"/>
            <a:ext cx="8676456" cy="5976664"/>
          </a:xfrm>
        </p:spPr>
        <p:txBody>
          <a:bodyPr/>
          <a:lstStyle/>
          <a:p>
            <a:r>
              <a:rPr lang="pt-BR" sz="1800" b="1" dirty="0" smtClean="0"/>
              <a:t>Objetivo:</a:t>
            </a:r>
            <a:r>
              <a:rPr lang="pt-BR" sz="1800" dirty="0" smtClean="0"/>
              <a:t> incentivar </a:t>
            </a:r>
            <a:r>
              <a:rPr lang="pt-BR" sz="1800" dirty="0"/>
              <a:t>e reconhecer tecnologias inovadoras com aplicabilidade na indústria de petróleo e gás natural e que tenham sido desenvolvidas por instituições de ciência e tecnologia e empresas nacionais com pelo menos 20% da Cláusula de </a:t>
            </a:r>
            <a:r>
              <a:rPr lang="pt-BR" sz="1800" dirty="0" smtClean="0"/>
              <a:t>P,D&amp;I</a:t>
            </a:r>
            <a:endParaRPr lang="pt-BR" sz="1800" dirty="0"/>
          </a:p>
          <a:p>
            <a:r>
              <a:rPr lang="pt-BR" sz="1800" b="1" dirty="0" smtClean="0"/>
              <a:t>46 </a:t>
            </a:r>
            <a:r>
              <a:rPr lang="pt-BR" sz="1800" b="1" dirty="0"/>
              <a:t>projetos </a:t>
            </a:r>
            <a:r>
              <a:rPr lang="pt-BR" sz="1800" b="1" dirty="0" smtClean="0"/>
              <a:t>inscritos em 2016:</a:t>
            </a:r>
            <a:r>
              <a:rPr lang="pt-BR" sz="1800" dirty="0" smtClean="0"/>
              <a:t> Critérios de avaliação - originalidade</a:t>
            </a:r>
            <a:r>
              <a:rPr lang="pt-BR" sz="1800" dirty="0"/>
              <a:t>, aplicabilidade e funcionalidade da tecnologia, contribuição científica e tecnológica, e percentual de </a:t>
            </a:r>
            <a:r>
              <a:rPr lang="pt-BR" sz="1800" dirty="0" smtClean="0"/>
              <a:t>CL</a:t>
            </a:r>
            <a:endParaRPr lang="pt-BR" sz="1800" dirty="0"/>
          </a:p>
          <a:p>
            <a:pPr marL="0" indent="0">
              <a:buNone/>
            </a:pPr>
            <a:r>
              <a:rPr lang="pt-BR" sz="1600" b="1" dirty="0"/>
              <a:t>PREMIAÇÕES </a:t>
            </a:r>
            <a:endParaRPr lang="pt-BR" sz="1600" dirty="0"/>
          </a:p>
          <a:p>
            <a:r>
              <a:rPr lang="pt-BR" sz="1600" b="1" dirty="0"/>
              <a:t>Vencedor Categoria I - </a:t>
            </a:r>
            <a:r>
              <a:rPr lang="pt-BR" sz="1600" dirty="0"/>
              <a:t>Inovação Tecnológica Desenvolvida no Brasil por Instituição de Ciência e Tecnologia (ICT) Nacional em Colaboração com Empresa Petrolífera</a:t>
            </a:r>
          </a:p>
          <a:p>
            <a:pPr lvl="1"/>
            <a:r>
              <a:rPr lang="pt-BR" sz="1400" b="1" dirty="0"/>
              <a:t>Projeto: </a:t>
            </a:r>
            <a:r>
              <a:rPr lang="pt-BR" sz="1400" b="1" dirty="0" err="1"/>
              <a:t>Pig</a:t>
            </a:r>
            <a:r>
              <a:rPr lang="pt-BR" sz="1400" b="1" dirty="0"/>
              <a:t> Palito para Inspeção de Dutos Submarinos </a:t>
            </a:r>
            <a:r>
              <a:rPr lang="pt-BR" sz="1400" b="1" dirty="0" err="1"/>
              <a:t>Multisize</a:t>
            </a:r>
            <a:r>
              <a:rPr lang="pt-BR" sz="1400" b="1" dirty="0"/>
              <a:t> </a:t>
            </a:r>
            <a:r>
              <a:rPr lang="pt-BR" sz="1050" dirty="0" smtClean="0"/>
              <a:t>(PUC-Rio </a:t>
            </a:r>
            <a:r>
              <a:rPr lang="pt-BR" sz="1050" dirty="0"/>
              <a:t>e </a:t>
            </a:r>
            <a:r>
              <a:rPr lang="pt-BR" sz="1050" dirty="0" smtClean="0"/>
              <a:t>Petrobras)</a:t>
            </a:r>
            <a:endParaRPr lang="pt-BR" sz="1050" dirty="0"/>
          </a:p>
          <a:p>
            <a:r>
              <a:rPr lang="pt-BR" sz="1600" b="1" dirty="0"/>
              <a:t>Vencedor Categoria II - </a:t>
            </a:r>
            <a:r>
              <a:rPr lang="pt-BR" sz="1600" dirty="0"/>
              <a:t>Inovação Tecnológica desenvolvida no Brasil por Micro, Pequena ou Média Empresa do Segmento de Petróleo, Gás Natural e Biocombustíveis em Colaboração com Empresa Petrolífera</a:t>
            </a:r>
          </a:p>
          <a:p>
            <a:pPr lvl="1"/>
            <a:r>
              <a:rPr lang="pt-BR" sz="1400" b="1" dirty="0"/>
              <a:t>Projeto: Programa de Diagnóstico de Problemas de Perfuração em Tempo Real (</a:t>
            </a:r>
            <a:r>
              <a:rPr lang="pt-BR" sz="1400" b="1" dirty="0" err="1"/>
              <a:t>PWDa</a:t>
            </a:r>
            <a:r>
              <a:rPr lang="pt-BR" sz="1400" b="1" dirty="0"/>
              <a:t>) </a:t>
            </a:r>
            <a:r>
              <a:rPr lang="pt-BR" sz="1050" dirty="0" smtClean="0"/>
              <a:t>(</a:t>
            </a:r>
            <a:r>
              <a:rPr lang="pt-BR" sz="1050" dirty="0" err="1" smtClean="0"/>
              <a:t>Engineering</a:t>
            </a:r>
            <a:r>
              <a:rPr lang="pt-BR" sz="1050" dirty="0" smtClean="0"/>
              <a:t> </a:t>
            </a:r>
            <a:r>
              <a:rPr lang="pt-BR" sz="1050" dirty="0" err="1"/>
              <a:t>Simulation</a:t>
            </a:r>
            <a:r>
              <a:rPr lang="pt-BR" sz="1050" dirty="0"/>
              <a:t> </a:t>
            </a:r>
            <a:r>
              <a:rPr lang="pt-BR" sz="1050" dirty="0" err="1"/>
              <a:t>and</a:t>
            </a:r>
            <a:r>
              <a:rPr lang="pt-BR" sz="1050" dirty="0"/>
              <a:t> </a:t>
            </a:r>
            <a:r>
              <a:rPr lang="pt-BR" sz="1050" dirty="0" err="1"/>
              <a:t>Scientific</a:t>
            </a:r>
            <a:r>
              <a:rPr lang="pt-BR" sz="1050" dirty="0"/>
              <a:t> Software Ltda (ESSS); Ensino Superior Unificado Centro Leste (UCL), Universidade Federal Rural do Rio de Janeiro (UFRRJ); Universidade Tecnológica Federal do Paraná (UTFPR); </a:t>
            </a:r>
            <a:r>
              <a:rPr lang="pt-BR" sz="1050" dirty="0" smtClean="0"/>
              <a:t>Petrobras)</a:t>
            </a:r>
          </a:p>
          <a:p>
            <a:r>
              <a:rPr lang="pt-BR" sz="1600" b="1" dirty="0"/>
              <a:t>Vencedor Categoria III - </a:t>
            </a:r>
            <a:r>
              <a:rPr lang="pt-BR" sz="1600" dirty="0"/>
              <a:t>Inovação Tecnológica desenvolvida no Brasil por Empresa Fornecedora de Grande Porte do Segmento de Petróleo, Gás Natural e Biocombustíveis em Colaboração com Empresa Petrolífera</a:t>
            </a:r>
          </a:p>
          <a:p>
            <a:pPr lvl="1"/>
            <a:r>
              <a:rPr lang="pt-BR" sz="1400" b="1" dirty="0"/>
              <a:t>Projeto: Cimento </a:t>
            </a:r>
            <a:r>
              <a:rPr lang="pt-BR" sz="1400" b="1" dirty="0" err="1"/>
              <a:t>Autorreparável</a:t>
            </a:r>
            <a:r>
              <a:rPr lang="pt-BR" sz="1400" b="1" dirty="0"/>
              <a:t> com CO2. </a:t>
            </a:r>
            <a:r>
              <a:rPr lang="pt-BR" sz="1050" dirty="0" smtClean="0"/>
              <a:t>(Schlumberger </a:t>
            </a:r>
            <a:r>
              <a:rPr lang="pt-BR" sz="1050" dirty="0"/>
              <a:t>Serviços de Petróleo Ltda. e à Petróleo Brasileiro S.A. – </a:t>
            </a:r>
            <a:r>
              <a:rPr lang="pt-BR" sz="1050" dirty="0" smtClean="0"/>
              <a:t>Petrobras)</a:t>
            </a:r>
            <a:endParaRPr lang="pt-BR" sz="1050" dirty="0"/>
          </a:p>
          <a:p>
            <a:r>
              <a:rPr lang="pt-BR" sz="1600" b="1" dirty="0"/>
              <a:t>Menção Especial Inovação Tecnológica</a:t>
            </a:r>
            <a:endParaRPr lang="pt-BR" sz="1600" dirty="0"/>
          </a:p>
          <a:p>
            <a:pPr lvl="1"/>
            <a:r>
              <a:rPr lang="pt-BR" sz="1400" b="1" dirty="0"/>
              <a:t>Projeto: Sistema Automático de Amostragem Contínua em Linha Para Mistura de Combustíveis </a:t>
            </a:r>
            <a:r>
              <a:rPr lang="pt-BR" sz="1400" b="1" dirty="0" smtClean="0"/>
              <a:t>Líquidos  </a:t>
            </a:r>
            <a:r>
              <a:rPr lang="pt-BR" sz="1050" dirty="0" smtClean="0"/>
              <a:t>(Diego </a:t>
            </a:r>
            <a:r>
              <a:rPr lang="pt-BR" sz="1050" dirty="0"/>
              <a:t>Rocha Rebelo – servidor da </a:t>
            </a:r>
            <a:r>
              <a:rPr lang="pt-BR" sz="1050" dirty="0" smtClean="0"/>
              <a:t>ANP, Colaboradores</a:t>
            </a:r>
            <a:r>
              <a:rPr lang="pt-BR" sz="1050" dirty="0"/>
              <a:t>: Roberto </a:t>
            </a:r>
            <a:r>
              <a:rPr lang="pt-BR" sz="1050" dirty="0" err="1"/>
              <a:t>Saldys</a:t>
            </a:r>
            <a:r>
              <a:rPr lang="pt-BR" sz="1050" dirty="0"/>
              <a:t> e Laura </a:t>
            </a:r>
            <a:r>
              <a:rPr lang="pt-BR" sz="1050" dirty="0" smtClean="0"/>
              <a:t>Soares)</a:t>
            </a:r>
            <a:endParaRPr lang="pt-BR" sz="1050" dirty="0"/>
          </a:p>
          <a:p>
            <a:endParaRPr lang="pt-BR" sz="1600" dirty="0"/>
          </a:p>
          <a:p>
            <a:endParaRPr lang="pt-BR" sz="1600" dirty="0">
              <a:effectLst/>
            </a:endParaRPr>
          </a:p>
        </p:txBody>
      </p:sp>
      <p:sp>
        <p:nvSpPr>
          <p:cNvPr id="5" name="Título 1"/>
          <p:cNvSpPr txBox="1">
            <a:spLocks/>
          </p:cNvSpPr>
          <p:nvPr/>
        </p:nvSpPr>
        <p:spPr>
          <a:xfrm>
            <a:off x="609600" y="427038"/>
            <a:ext cx="8229600" cy="850106"/>
          </a:xfrm>
          <a:prstGeom prst="rect">
            <a:avLst/>
          </a:prstGeom>
        </p:spPr>
        <p:txBody>
          <a:bodyPr/>
          <a:lstStyle>
            <a:lvl1pPr algn="ctr" rtl="0" eaLnBrk="0" fontAlgn="base" hangingPunct="0">
              <a:spcBef>
                <a:spcPct val="0"/>
              </a:spcBef>
              <a:spcAft>
                <a:spcPct val="0"/>
              </a:spcAft>
              <a:defRPr sz="3600" b="1">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Calibri" pitchFamily="34" charset="0"/>
              </a:defRPr>
            </a:lvl2pPr>
            <a:lvl3pPr algn="ctr" rtl="0" eaLnBrk="0" fontAlgn="base" hangingPunct="0">
              <a:spcBef>
                <a:spcPct val="0"/>
              </a:spcBef>
              <a:spcAft>
                <a:spcPct val="0"/>
              </a:spcAft>
              <a:defRPr sz="4400">
                <a:solidFill>
                  <a:schemeClr val="tx2"/>
                </a:solidFill>
                <a:latin typeface="Calibri" pitchFamily="34" charset="0"/>
              </a:defRPr>
            </a:lvl3pPr>
            <a:lvl4pPr algn="ctr" rtl="0" eaLnBrk="0" fontAlgn="base" hangingPunct="0">
              <a:spcBef>
                <a:spcPct val="0"/>
              </a:spcBef>
              <a:spcAft>
                <a:spcPct val="0"/>
              </a:spcAft>
              <a:defRPr sz="4400">
                <a:solidFill>
                  <a:schemeClr val="tx2"/>
                </a:solidFill>
                <a:latin typeface="Calibri" pitchFamily="34" charset="0"/>
              </a:defRPr>
            </a:lvl4pPr>
            <a:lvl5pPr algn="ctr" rtl="0" eaLnBrk="0" fontAlgn="base" hangingPunct="0">
              <a:spcBef>
                <a:spcPct val="0"/>
              </a:spcBef>
              <a:spcAft>
                <a:spcPct val="0"/>
              </a:spcAft>
              <a:defRPr sz="4400">
                <a:solidFill>
                  <a:schemeClr val="tx2"/>
                </a:solidFill>
                <a:latin typeface="Calibri" pitchFamily="34"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endParaRPr lang="pt-BR" kern="0" dirty="0"/>
          </a:p>
        </p:txBody>
      </p:sp>
    </p:spTree>
    <p:extLst>
      <p:ext uri="{BB962C8B-B14F-4D97-AF65-F5344CB8AC3E}">
        <p14:creationId xmlns:p14="http://schemas.microsoft.com/office/powerpoint/2010/main" val="23678661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ítulo 3"/>
          <p:cNvSpPr>
            <a:spLocks noGrp="1"/>
          </p:cNvSpPr>
          <p:nvPr>
            <p:ph type="title"/>
          </p:nvPr>
        </p:nvSpPr>
        <p:spPr/>
        <p:txBody>
          <a:bodyPr/>
          <a:lstStyle/>
          <a:p>
            <a:r>
              <a:rPr lang="pt-BR" altLang="pt-BR" sz="3200" dirty="0" smtClean="0"/>
              <a:t>Desafios Tecnológicos de E&amp;P no Brasil</a:t>
            </a:r>
          </a:p>
        </p:txBody>
      </p:sp>
      <p:sp>
        <p:nvSpPr>
          <p:cNvPr id="40963" name="Espaço Reservado para Conteúdo 4"/>
          <p:cNvSpPr>
            <a:spLocks noGrp="1"/>
          </p:cNvSpPr>
          <p:nvPr>
            <p:ph idx="1"/>
          </p:nvPr>
        </p:nvSpPr>
        <p:spPr>
          <a:xfrm>
            <a:off x="539552" y="1052736"/>
            <a:ext cx="8424936" cy="5400600"/>
          </a:xfrm>
        </p:spPr>
        <p:txBody>
          <a:bodyPr/>
          <a:lstStyle/>
          <a:p>
            <a:r>
              <a:rPr lang="pt-BR" altLang="pt-BR" sz="2400" dirty="0" smtClean="0"/>
              <a:t>E&amp;P em águas profundas e </a:t>
            </a:r>
            <a:r>
              <a:rPr lang="pt-BR" altLang="pt-BR" sz="2400" dirty="0" err="1" smtClean="0"/>
              <a:t>ultraprofundas</a:t>
            </a:r>
            <a:endParaRPr lang="pt-BR" altLang="pt-BR" sz="2400" dirty="0" smtClean="0"/>
          </a:p>
          <a:p>
            <a:pPr lvl="1"/>
            <a:r>
              <a:rPr lang="pt-BR" altLang="pt-BR" sz="2000" dirty="0" smtClean="0"/>
              <a:t>Margem Equatorial e </a:t>
            </a:r>
            <a:r>
              <a:rPr lang="pt-BR" altLang="pt-BR" sz="2000" dirty="0" err="1" smtClean="0"/>
              <a:t>Pré</a:t>
            </a:r>
            <a:r>
              <a:rPr lang="pt-BR" altLang="pt-BR" sz="2000" dirty="0" smtClean="0"/>
              <a:t>-sal das bacias de Campos e Santos</a:t>
            </a:r>
          </a:p>
          <a:p>
            <a:pPr lvl="1"/>
            <a:r>
              <a:rPr lang="pt-BR" altLang="pt-BR" sz="2000" dirty="0" smtClean="0"/>
              <a:t>Equipamentos de produção submarinos – separação de fluidos</a:t>
            </a:r>
          </a:p>
          <a:p>
            <a:pPr lvl="1"/>
            <a:r>
              <a:rPr lang="pt-BR" altLang="pt-BR" sz="2000" dirty="0" smtClean="0"/>
              <a:t>Unidades de produção para campos de alta produtividade no </a:t>
            </a:r>
            <a:r>
              <a:rPr lang="pt-BR" altLang="pt-BR" sz="2000" dirty="0" err="1" smtClean="0"/>
              <a:t>Pré</a:t>
            </a:r>
            <a:r>
              <a:rPr lang="pt-BR" altLang="pt-BR" sz="2000" dirty="0" smtClean="0"/>
              <a:t>-sal</a:t>
            </a:r>
          </a:p>
          <a:p>
            <a:r>
              <a:rPr lang="pt-BR" altLang="pt-BR" sz="2400" dirty="0" smtClean="0"/>
              <a:t>Grandes distâncias da linha de costa – logística</a:t>
            </a:r>
          </a:p>
          <a:p>
            <a:r>
              <a:rPr lang="pt-BR" altLang="pt-BR" sz="2400" dirty="0" smtClean="0"/>
              <a:t>Desenvolvimento de jazidas com contaminantes ou de baixa permeabilidade</a:t>
            </a:r>
          </a:p>
          <a:p>
            <a:pPr lvl="1"/>
            <a:r>
              <a:rPr lang="pt-BR" altLang="pt-BR" sz="2000" dirty="0" smtClean="0"/>
              <a:t>Presença de CO2</a:t>
            </a:r>
            <a:r>
              <a:rPr lang="pt-BR" altLang="pt-BR" sz="2000" dirty="0"/>
              <a:t>, </a:t>
            </a:r>
            <a:r>
              <a:rPr lang="pt-BR" altLang="pt-BR" sz="2000" dirty="0" err="1" smtClean="0"/>
              <a:t>NOx</a:t>
            </a:r>
            <a:r>
              <a:rPr lang="pt-BR" altLang="pt-BR" sz="2000" dirty="0" smtClean="0"/>
              <a:t>, </a:t>
            </a:r>
            <a:r>
              <a:rPr lang="pt-BR" altLang="pt-BR" sz="2000" dirty="0" err="1" smtClean="0"/>
              <a:t>etc</a:t>
            </a:r>
            <a:endParaRPr lang="pt-BR" altLang="pt-BR" sz="2000" dirty="0"/>
          </a:p>
          <a:p>
            <a:pPr lvl="1"/>
            <a:r>
              <a:rPr lang="pt-BR" altLang="pt-BR" sz="2000" dirty="0" smtClean="0"/>
              <a:t>Corrosividade dos fluidos</a:t>
            </a:r>
            <a:endParaRPr lang="pt-BR" altLang="pt-BR" sz="2000" dirty="0"/>
          </a:p>
          <a:p>
            <a:pPr lvl="1"/>
            <a:r>
              <a:rPr lang="pt-BR" altLang="pt-BR" sz="2000" dirty="0" smtClean="0"/>
              <a:t>Reservatórios compartimentados</a:t>
            </a:r>
          </a:p>
          <a:p>
            <a:pPr lvl="1"/>
            <a:r>
              <a:rPr lang="pt-BR" altLang="pt-BR" sz="2000" dirty="0" smtClean="0"/>
              <a:t>Hidratos, óleo pesado</a:t>
            </a:r>
          </a:p>
        </p:txBody>
      </p:sp>
    </p:spTree>
    <p:extLst>
      <p:ext uri="{BB962C8B-B14F-4D97-AF65-F5344CB8AC3E}">
        <p14:creationId xmlns:p14="http://schemas.microsoft.com/office/powerpoint/2010/main" val="17012732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ítulo 3"/>
          <p:cNvSpPr>
            <a:spLocks noGrp="1"/>
          </p:cNvSpPr>
          <p:nvPr>
            <p:ph type="title"/>
          </p:nvPr>
        </p:nvSpPr>
        <p:spPr>
          <a:xfrm>
            <a:off x="467544" y="332656"/>
            <a:ext cx="8229600" cy="850106"/>
          </a:xfrm>
        </p:spPr>
        <p:txBody>
          <a:bodyPr/>
          <a:lstStyle/>
          <a:p>
            <a:r>
              <a:rPr lang="pt-BR" altLang="pt-BR" sz="2800" dirty="0" smtClean="0"/>
              <a:t>Impacto do PLS nº 696/2015 na Indústria Petrolífera</a:t>
            </a:r>
          </a:p>
        </p:txBody>
      </p:sp>
      <p:sp>
        <p:nvSpPr>
          <p:cNvPr id="40963" name="Espaço Reservado para Conteúdo 4"/>
          <p:cNvSpPr>
            <a:spLocks noGrp="1"/>
          </p:cNvSpPr>
          <p:nvPr>
            <p:ph idx="1"/>
          </p:nvPr>
        </p:nvSpPr>
        <p:spPr>
          <a:xfrm>
            <a:off x="539552" y="1196752"/>
            <a:ext cx="8229600" cy="4681066"/>
          </a:xfrm>
        </p:spPr>
        <p:txBody>
          <a:bodyPr/>
          <a:lstStyle/>
          <a:p>
            <a:r>
              <a:rPr lang="pt-BR" altLang="pt-BR" sz="2400" dirty="0" smtClean="0"/>
              <a:t>A queda significativa do preço do petróleo no mercado internacional torna os investimentos em P,D&amp;I fundamentais para a manutenção da competitividade da atividade de exploração e produção no mundo</a:t>
            </a:r>
          </a:p>
          <a:p>
            <a:r>
              <a:rPr lang="pt-BR" altLang="pt-BR" sz="2400" dirty="0" smtClean="0"/>
              <a:t>No caso do Brasil, a sistemática de P,D&amp;I adotada pela ANP no âmbito dos contratos de E&amp;P mostra-se uma vantagem competitiva para a indústria local</a:t>
            </a:r>
          </a:p>
        </p:txBody>
      </p:sp>
    </p:spTree>
    <p:extLst>
      <p:ext uri="{BB962C8B-B14F-4D97-AF65-F5344CB8AC3E}">
        <p14:creationId xmlns:p14="http://schemas.microsoft.com/office/powerpoint/2010/main" val="36715561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483744"/>
            <a:ext cx="8748464" cy="6189033"/>
          </a:xfrm>
          <a:prstGeom prst="rect">
            <a:avLst/>
          </a:prstGeom>
        </p:spPr>
      </p:pic>
      <p:sp>
        <p:nvSpPr>
          <p:cNvPr id="6" name="Rectangle 32"/>
          <p:cNvSpPr>
            <a:spLocks noChangeArrowheads="1"/>
          </p:cNvSpPr>
          <p:nvPr/>
        </p:nvSpPr>
        <p:spPr bwMode="auto">
          <a:xfrm>
            <a:off x="140158" y="3632556"/>
            <a:ext cx="2614294" cy="3161645"/>
          </a:xfrm>
          <a:prstGeom prst="roundRect">
            <a:avLst/>
          </a:prstGeom>
          <a:ln>
            <a:solidFill>
              <a:schemeClr val="accent3">
                <a:lumMod val="75000"/>
              </a:schemeClr>
            </a:solidFill>
            <a:headEnd/>
            <a:tailEnd/>
          </a:ln>
        </p:spPr>
        <p:style>
          <a:lnRef idx="3">
            <a:schemeClr val="lt1"/>
          </a:lnRef>
          <a:fillRef idx="1">
            <a:schemeClr val="accent3"/>
          </a:fillRef>
          <a:effectRef idx="1">
            <a:schemeClr val="accent3"/>
          </a:effectRef>
          <a:fontRef idx="minor">
            <a:schemeClr val="lt1"/>
          </a:fontRef>
        </p:style>
        <p:txBody>
          <a:bodyPr wrap="square" lIns="0" tIns="0" rIns="0" bIns="0">
            <a:spAutoFit/>
          </a:bodyPr>
          <a:lstStyle/>
          <a:p>
            <a:pPr marL="266700" indent="-266700" fontAlgn="base">
              <a:spcBef>
                <a:spcPct val="30000"/>
              </a:spcBef>
              <a:spcAft>
                <a:spcPct val="0"/>
              </a:spcAft>
              <a:buFont typeface="Wingdings" pitchFamily="2" charset="2"/>
              <a:buChar char="ü"/>
              <a:defRPr/>
            </a:pPr>
            <a:r>
              <a:rPr lang="pt-BR" sz="1400" b="1" dirty="0">
                <a:solidFill>
                  <a:srgbClr val="000000"/>
                </a:solidFill>
                <a:latin typeface="Arial Narrow" pitchFamily="34" charset="0"/>
              </a:rPr>
              <a:t>7,5 milhões km² </a:t>
            </a:r>
            <a:r>
              <a:rPr lang="pt-BR" sz="1400" dirty="0">
                <a:solidFill>
                  <a:srgbClr val="000000"/>
                </a:solidFill>
                <a:latin typeface="Arial Narrow" pitchFamily="34" charset="0"/>
              </a:rPr>
              <a:t>de bacias sedimentares</a:t>
            </a:r>
          </a:p>
          <a:p>
            <a:pPr marL="266700" indent="-266700" fontAlgn="base">
              <a:spcBef>
                <a:spcPct val="30000"/>
              </a:spcBef>
              <a:spcAft>
                <a:spcPct val="0"/>
              </a:spcAft>
              <a:buFont typeface="Wingdings" pitchFamily="2" charset="2"/>
              <a:buChar char="ü"/>
              <a:defRPr/>
            </a:pPr>
            <a:r>
              <a:rPr lang="pt-BR" sz="1400" b="1" dirty="0">
                <a:solidFill>
                  <a:srgbClr val="000000"/>
                </a:solidFill>
              </a:rPr>
              <a:t>2,8 milhões km² </a:t>
            </a:r>
            <a:r>
              <a:rPr lang="pt-BR" sz="1400" dirty="0">
                <a:solidFill>
                  <a:srgbClr val="000000"/>
                </a:solidFill>
              </a:rPr>
              <a:t>com potencial para óleo e gás </a:t>
            </a:r>
          </a:p>
          <a:p>
            <a:pPr marL="266700" indent="-266700" fontAlgn="base">
              <a:spcBef>
                <a:spcPct val="30000"/>
              </a:spcBef>
              <a:spcAft>
                <a:spcPct val="0"/>
              </a:spcAft>
              <a:buFont typeface="Wingdings" pitchFamily="2" charset="2"/>
              <a:buChar char="ü"/>
              <a:defRPr/>
            </a:pPr>
            <a:r>
              <a:rPr lang="pt-BR" sz="1400" b="1" dirty="0">
                <a:solidFill>
                  <a:srgbClr val="000000"/>
                </a:solidFill>
              </a:rPr>
              <a:t>268,35 mil km²</a:t>
            </a:r>
            <a:r>
              <a:rPr lang="pt-BR" sz="1400" dirty="0">
                <a:solidFill>
                  <a:srgbClr val="000000"/>
                </a:solidFill>
              </a:rPr>
              <a:t> de área concedida (campos e blocos)</a:t>
            </a:r>
          </a:p>
          <a:p>
            <a:pPr marL="266700" indent="-266700" fontAlgn="base">
              <a:spcBef>
                <a:spcPct val="30000"/>
              </a:spcBef>
              <a:spcAft>
                <a:spcPct val="0"/>
              </a:spcAft>
              <a:buFont typeface="Wingdings" pitchFamily="2" charset="2"/>
              <a:buChar char="ü"/>
              <a:defRPr/>
            </a:pPr>
            <a:r>
              <a:rPr lang="pt-BR" sz="1400" b="1" dirty="0" smtClean="0">
                <a:solidFill>
                  <a:srgbClr val="000000"/>
                </a:solidFill>
              </a:rPr>
              <a:t>360 </a:t>
            </a:r>
            <a:r>
              <a:rPr lang="pt-BR" sz="1400" dirty="0">
                <a:solidFill>
                  <a:srgbClr val="000000"/>
                </a:solidFill>
              </a:rPr>
              <a:t>blocos concedidos em fase de </a:t>
            </a:r>
            <a:r>
              <a:rPr lang="pt-BR" sz="1400" dirty="0" smtClean="0">
                <a:solidFill>
                  <a:srgbClr val="000000"/>
                </a:solidFill>
              </a:rPr>
              <a:t>exploração (considerando os arrematados na 13ª Rodada)</a:t>
            </a:r>
            <a:endParaRPr lang="pt-BR" sz="1400" dirty="0">
              <a:solidFill>
                <a:srgbClr val="000000"/>
              </a:solidFill>
            </a:endParaRPr>
          </a:p>
          <a:p>
            <a:pPr marL="266700" indent="-266700" fontAlgn="base">
              <a:spcBef>
                <a:spcPct val="30000"/>
              </a:spcBef>
              <a:spcAft>
                <a:spcPct val="0"/>
              </a:spcAft>
              <a:buFont typeface="Wingdings" pitchFamily="2" charset="2"/>
              <a:buChar char="ü"/>
              <a:defRPr/>
            </a:pPr>
            <a:r>
              <a:rPr lang="pt-BR" sz="1400" b="1" dirty="0" smtClean="0">
                <a:solidFill>
                  <a:srgbClr val="000000"/>
                </a:solidFill>
              </a:rPr>
              <a:t>438 </a:t>
            </a:r>
            <a:r>
              <a:rPr lang="pt-BR" sz="1400" dirty="0">
                <a:solidFill>
                  <a:srgbClr val="000000"/>
                </a:solidFill>
              </a:rPr>
              <a:t>campos de produção</a:t>
            </a:r>
          </a:p>
          <a:p>
            <a:pPr marL="266700" indent="-266700" fontAlgn="base">
              <a:spcBef>
                <a:spcPct val="30000"/>
              </a:spcBef>
              <a:spcAft>
                <a:spcPct val="0"/>
              </a:spcAft>
              <a:buFont typeface="Wingdings" pitchFamily="2" charset="2"/>
              <a:buChar char="ü"/>
              <a:defRPr/>
            </a:pPr>
            <a:r>
              <a:rPr lang="pt-BR" sz="1400" b="1" dirty="0">
                <a:solidFill>
                  <a:srgbClr val="000000"/>
                </a:solidFill>
              </a:rPr>
              <a:t>110</a:t>
            </a:r>
            <a:r>
              <a:rPr lang="pt-BR" sz="1400" dirty="0">
                <a:solidFill>
                  <a:srgbClr val="000000"/>
                </a:solidFill>
              </a:rPr>
              <a:t> empresas de E&amp;P</a:t>
            </a:r>
          </a:p>
        </p:txBody>
      </p:sp>
      <p:sp>
        <p:nvSpPr>
          <p:cNvPr id="7" name="CaixaDeTexto 6"/>
          <p:cNvSpPr txBox="1"/>
          <p:nvPr/>
        </p:nvSpPr>
        <p:spPr>
          <a:xfrm>
            <a:off x="1331640" y="44624"/>
            <a:ext cx="6726255" cy="584775"/>
          </a:xfrm>
          <a:prstGeom prst="rect">
            <a:avLst/>
          </a:prstGeom>
        </p:spPr>
        <p:txBody>
          <a:bodyPr/>
          <a:lstStyle>
            <a:lvl1pPr algn="ctr" eaLnBrk="0" fontAlgn="base" hangingPunct="0">
              <a:spcBef>
                <a:spcPct val="0"/>
              </a:spcBef>
              <a:spcAft>
                <a:spcPct val="0"/>
              </a:spcAft>
              <a:defRPr sz="3600" b="1">
                <a:solidFill>
                  <a:schemeClr val="tx2"/>
                </a:solidFill>
                <a:latin typeface="+mj-lt"/>
                <a:ea typeface="+mj-ea"/>
                <a:cs typeface="+mj-cs"/>
              </a:defRPr>
            </a:lvl1pPr>
            <a:lvl2pPr algn="ctr" eaLnBrk="0" fontAlgn="base" hangingPunct="0">
              <a:spcBef>
                <a:spcPct val="0"/>
              </a:spcBef>
              <a:spcAft>
                <a:spcPct val="0"/>
              </a:spcAft>
              <a:defRPr sz="4400">
                <a:solidFill>
                  <a:schemeClr val="tx2"/>
                </a:solidFill>
                <a:latin typeface="Calibri" pitchFamily="34" charset="0"/>
              </a:defRPr>
            </a:lvl2pPr>
            <a:lvl3pPr algn="ctr" eaLnBrk="0" fontAlgn="base" hangingPunct="0">
              <a:spcBef>
                <a:spcPct val="0"/>
              </a:spcBef>
              <a:spcAft>
                <a:spcPct val="0"/>
              </a:spcAft>
              <a:defRPr sz="4400">
                <a:solidFill>
                  <a:schemeClr val="tx2"/>
                </a:solidFill>
                <a:latin typeface="Calibri" pitchFamily="34" charset="0"/>
              </a:defRPr>
            </a:lvl3pPr>
            <a:lvl4pPr algn="ctr" eaLnBrk="0" fontAlgn="base" hangingPunct="0">
              <a:spcBef>
                <a:spcPct val="0"/>
              </a:spcBef>
              <a:spcAft>
                <a:spcPct val="0"/>
              </a:spcAft>
              <a:defRPr sz="4400">
                <a:solidFill>
                  <a:schemeClr val="tx2"/>
                </a:solidFill>
                <a:latin typeface="Calibri" pitchFamily="34" charset="0"/>
              </a:defRPr>
            </a:lvl4pPr>
            <a:lvl5pPr algn="ctr" eaLnBrk="0" fontAlgn="base" hangingPunct="0">
              <a:spcBef>
                <a:spcPct val="0"/>
              </a:spcBef>
              <a:spcAft>
                <a:spcPct val="0"/>
              </a:spcAft>
              <a:defRPr sz="4400">
                <a:solidFill>
                  <a:schemeClr val="tx2"/>
                </a:solidFill>
                <a:latin typeface="Calibri" pitchFamily="34" charset="0"/>
              </a:defRPr>
            </a:lvl5pPr>
            <a:lvl6pPr marL="457200" algn="ctr" fontAlgn="base">
              <a:spcBef>
                <a:spcPct val="0"/>
              </a:spcBef>
              <a:spcAft>
                <a:spcPct val="0"/>
              </a:spcAft>
              <a:defRPr sz="4400">
                <a:solidFill>
                  <a:schemeClr val="tx2"/>
                </a:solidFill>
                <a:latin typeface="Arial" charset="0"/>
              </a:defRPr>
            </a:lvl6pPr>
            <a:lvl7pPr marL="914400" algn="ctr" fontAlgn="base">
              <a:spcBef>
                <a:spcPct val="0"/>
              </a:spcBef>
              <a:spcAft>
                <a:spcPct val="0"/>
              </a:spcAft>
              <a:defRPr sz="4400">
                <a:solidFill>
                  <a:schemeClr val="tx2"/>
                </a:solidFill>
                <a:latin typeface="Arial" charset="0"/>
              </a:defRPr>
            </a:lvl7pPr>
            <a:lvl8pPr marL="1371600" algn="ctr" fontAlgn="base">
              <a:spcBef>
                <a:spcPct val="0"/>
              </a:spcBef>
              <a:spcAft>
                <a:spcPct val="0"/>
              </a:spcAft>
              <a:defRPr sz="4400">
                <a:solidFill>
                  <a:schemeClr val="tx2"/>
                </a:solidFill>
                <a:latin typeface="Arial" charset="0"/>
              </a:defRPr>
            </a:lvl8pPr>
            <a:lvl9pPr marL="1828800" algn="ctr" fontAlgn="base">
              <a:spcBef>
                <a:spcPct val="0"/>
              </a:spcBef>
              <a:spcAft>
                <a:spcPct val="0"/>
              </a:spcAft>
              <a:defRPr sz="4400">
                <a:solidFill>
                  <a:schemeClr val="tx2"/>
                </a:solidFill>
                <a:latin typeface="Arial" charset="0"/>
              </a:defRPr>
            </a:lvl9pPr>
          </a:lstStyle>
          <a:p>
            <a:r>
              <a:rPr lang="pt-BR" dirty="0"/>
              <a:t>Atividades de E&amp;P no Brasil</a:t>
            </a:r>
          </a:p>
        </p:txBody>
      </p:sp>
      <p:sp>
        <p:nvSpPr>
          <p:cNvPr id="2" name="CaixaDeTexto 1"/>
          <p:cNvSpPr txBox="1"/>
          <p:nvPr/>
        </p:nvSpPr>
        <p:spPr>
          <a:xfrm>
            <a:off x="4355976" y="6486424"/>
            <a:ext cx="2141251" cy="307777"/>
          </a:xfrm>
          <a:prstGeom prst="rect">
            <a:avLst/>
          </a:prstGeom>
          <a:solidFill>
            <a:schemeClr val="bg1">
              <a:lumMod val="95000"/>
            </a:schemeClr>
          </a:solidFill>
        </p:spPr>
        <p:txBody>
          <a:bodyPr wrap="square" rtlCol="0">
            <a:spAutoFit/>
          </a:bodyPr>
          <a:lstStyle/>
          <a:p>
            <a:r>
              <a:rPr lang="pt-BR" sz="1400" b="1" dirty="0" smtClean="0"/>
              <a:t>Fonte: ANP, </a:t>
            </a:r>
            <a:r>
              <a:rPr lang="pt-BR" sz="1400" b="1" dirty="0" err="1" smtClean="0"/>
              <a:t>jul</a:t>
            </a:r>
            <a:r>
              <a:rPr lang="pt-BR" sz="1400" b="1" dirty="0" smtClean="0"/>
              <a:t>/2016</a:t>
            </a:r>
            <a:endParaRPr lang="pt-BR" sz="1400" b="1" dirty="0"/>
          </a:p>
        </p:txBody>
      </p:sp>
    </p:spTree>
    <p:extLst>
      <p:ext uri="{BB962C8B-B14F-4D97-AF65-F5344CB8AC3E}">
        <p14:creationId xmlns:p14="http://schemas.microsoft.com/office/powerpoint/2010/main" val="3546132341"/>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US" dirty="0" err="1"/>
              <a:t>Produção</a:t>
            </a:r>
            <a:r>
              <a:rPr lang="en-US" dirty="0"/>
              <a:t> de </a:t>
            </a:r>
            <a:r>
              <a:rPr lang="en-US" dirty="0" err="1"/>
              <a:t>Petróleo</a:t>
            </a:r>
            <a:r>
              <a:rPr lang="en-US" dirty="0"/>
              <a:t> + LGN</a:t>
            </a:r>
            <a:br>
              <a:rPr lang="en-US" dirty="0"/>
            </a:br>
            <a:endParaRPr lang="pt-BR" dirty="0"/>
          </a:p>
        </p:txBody>
      </p:sp>
      <p:sp>
        <p:nvSpPr>
          <p:cNvPr id="4" name="Espaço Reservado para Número de Slide 3"/>
          <p:cNvSpPr>
            <a:spLocks noGrp="1"/>
          </p:cNvSpPr>
          <p:nvPr>
            <p:ph type="sldNum" sz="quarter" idx="4294967295"/>
          </p:nvPr>
        </p:nvSpPr>
        <p:spPr>
          <a:xfrm>
            <a:off x="0" y="6356350"/>
            <a:ext cx="2133600" cy="365125"/>
          </a:xfrm>
          <a:prstGeom prst="rect">
            <a:avLst/>
          </a:prstGeom>
        </p:spPr>
        <p:txBody>
          <a:bodyPr/>
          <a:lstStyle/>
          <a:p>
            <a:pPr>
              <a:defRPr/>
            </a:pPr>
            <a:fld id="{01502DF9-DBF2-4576-884B-34BA982E11B4}" type="slidenum">
              <a:rPr lang="pt-BR" smtClean="0"/>
              <a:pPr>
                <a:defRPr/>
              </a:pPr>
              <a:t>3</a:t>
            </a:fld>
            <a:endParaRPr lang="pt-BR" dirty="0"/>
          </a:p>
        </p:txBody>
      </p:sp>
      <p:sp>
        <p:nvSpPr>
          <p:cNvPr id="6" name="Seta para a direita 5">
            <a:hlinkClick r:id="rId3" action="ppaction://hlinksldjump"/>
          </p:cNvPr>
          <p:cNvSpPr/>
          <p:nvPr/>
        </p:nvSpPr>
        <p:spPr>
          <a:xfrm>
            <a:off x="7857365" y="6399330"/>
            <a:ext cx="630070" cy="31478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aphicFrame>
        <p:nvGraphicFramePr>
          <p:cNvPr id="7" name="Gráfico 6"/>
          <p:cNvGraphicFramePr>
            <a:graphicFrameLocks/>
          </p:cNvGraphicFramePr>
          <p:nvPr>
            <p:extLst>
              <p:ext uri="{D42A27DB-BD31-4B8C-83A1-F6EECF244321}">
                <p14:modId xmlns:p14="http://schemas.microsoft.com/office/powerpoint/2010/main" val="1381471643"/>
              </p:ext>
            </p:extLst>
          </p:nvPr>
        </p:nvGraphicFramePr>
        <p:xfrm>
          <a:off x="323528" y="1052736"/>
          <a:ext cx="8424936" cy="534659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2435381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Produção de Gás Natural no </a:t>
            </a:r>
            <a:r>
              <a:rPr lang="pt-BR" dirty="0" smtClean="0"/>
              <a:t>Brasil</a:t>
            </a:r>
            <a:endParaRPr lang="pt-BR" dirty="0"/>
          </a:p>
        </p:txBody>
      </p:sp>
      <p:graphicFrame>
        <p:nvGraphicFramePr>
          <p:cNvPr id="4" name="Gráfico 3"/>
          <p:cNvGraphicFramePr>
            <a:graphicFrameLocks/>
          </p:cNvGraphicFramePr>
          <p:nvPr>
            <p:extLst>
              <p:ext uri="{D42A27DB-BD31-4B8C-83A1-F6EECF244321}">
                <p14:modId xmlns:p14="http://schemas.microsoft.com/office/powerpoint/2010/main" val="210008859"/>
              </p:ext>
            </p:extLst>
          </p:nvPr>
        </p:nvGraphicFramePr>
        <p:xfrm>
          <a:off x="323528" y="764704"/>
          <a:ext cx="8568952" cy="547260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482567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normAutofit/>
          </a:bodyPr>
          <a:lstStyle/>
          <a:p>
            <a:r>
              <a:rPr lang="pt-BR" dirty="0" smtClean="0"/>
              <a:t>Preços do Petróleo</a:t>
            </a:r>
            <a:endParaRPr lang="pt-BR" dirty="0"/>
          </a:p>
        </p:txBody>
      </p:sp>
      <p:sp>
        <p:nvSpPr>
          <p:cNvPr id="2" name="Espaço Reservado para Número de Slide 1"/>
          <p:cNvSpPr>
            <a:spLocks noGrp="1"/>
          </p:cNvSpPr>
          <p:nvPr>
            <p:ph type="sldNum" sz="quarter" idx="4294967295"/>
          </p:nvPr>
        </p:nvSpPr>
        <p:spPr>
          <a:xfrm>
            <a:off x="8688388" y="6457950"/>
            <a:ext cx="455612" cy="361950"/>
          </a:xfrm>
          <a:prstGeom prst="ellipse">
            <a:avLst/>
          </a:prstGeom>
        </p:spPr>
        <p:txBody>
          <a:bodyPr/>
          <a:lstStyle/>
          <a:p>
            <a:pPr>
              <a:defRPr/>
            </a:pPr>
            <a:fld id="{01502DF9-DBF2-4576-884B-34BA982E11B4}" type="slidenum">
              <a:rPr lang="pt-BR" smtClean="0"/>
              <a:pPr>
                <a:defRPr/>
              </a:pPr>
              <a:t>5</a:t>
            </a:fld>
            <a:endParaRPr lang="pt-BR" dirty="0"/>
          </a:p>
        </p:txBody>
      </p:sp>
      <p:sp>
        <p:nvSpPr>
          <p:cNvPr id="7" name="CaixaDeTexto 6"/>
          <p:cNvSpPr txBox="1"/>
          <p:nvPr/>
        </p:nvSpPr>
        <p:spPr>
          <a:xfrm>
            <a:off x="179512" y="6525344"/>
            <a:ext cx="1845163" cy="261610"/>
          </a:xfrm>
          <a:prstGeom prst="rect">
            <a:avLst/>
          </a:prstGeom>
          <a:solidFill>
            <a:schemeClr val="bg1"/>
          </a:solidFill>
        </p:spPr>
        <p:txBody>
          <a:bodyPr wrap="square" rtlCol="0">
            <a:spAutoFit/>
          </a:bodyPr>
          <a:lstStyle/>
          <a:p>
            <a:r>
              <a:rPr lang="pt-BR" sz="1100" dirty="0" smtClean="0"/>
              <a:t>Fonte: eia.doe.gov- 2016</a:t>
            </a:r>
            <a:endParaRPr lang="pt-BR" sz="1100" dirty="0"/>
          </a:p>
        </p:txBody>
      </p:sp>
      <p:graphicFrame>
        <p:nvGraphicFramePr>
          <p:cNvPr id="6" name="Gráfico 5"/>
          <p:cNvGraphicFramePr>
            <a:graphicFrameLocks/>
          </p:cNvGraphicFramePr>
          <p:nvPr>
            <p:extLst>
              <p:ext uri="{D42A27DB-BD31-4B8C-83A1-F6EECF244321}">
                <p14:modId xmlns:p14="http://schemas.microsoft.com/office/powerpoint/2010/main" val="1611084562"/>
              </p:ext>
            </p:extLst>
          </p:nvPr>
        </p:nvGraphicFramePr>
        <p:xfrm>
          <a:off x="179512" y="908721"/>
          <a:ext cx="8784976" cy="547260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56680190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67544" y="116632"/>
            <a:ext cx="8229600" cy="562074"/>
          </a:xfrm>
        </p:spPr>
        <p:txBody>
          <a:bodyPr/>
          <a:lstStyle/>
          <a:p>
            <a:r>
              <a:rPr lang="pt-BR" dirty="0" smtClean="0"/>
              <a:t>P,D&amp;I nos Contratos de E&amp;P</a:t>
            </a:r>
            <a:endParaRPr lang="pt-BR" dirty="0"/>
          </a:p>
        </p:txBody>
      </p:sp>
      <p:graphicFrame>
        <p:nvGraphicFramePr>
          <p:cNvPr id="4" name="Espaço Reservado para Conteúdo 3"/>
          <p:cNvGraphicFramePr>
            <a:graphicFrameLocks noGrp="1"/>
          </p:cNvGraphicFramePr>
          <p:nvPr>
            <p:ph idx="1"/>
            <p:extLst>
              <p:ext uri="{D42A27DB-BD31-4B8C-83A1-F6EECF244321}">
                <p14:modId xmlns:p14="http://schemas.microsoft.com/office/powerpoint/2010/main" val="1632613155"/>
              </p:ext>
            </p:extLst>
          </p:nvPr>
        </p:nvGraphicFramePr>
        <p:xfrm>
          <a:off x="107504" y="743909"/>
          <a:ext cx="8928992" cy="6131560"/>
        </p:xfrm>
        <a:graphic>
          <a:graphicData uri="http://schemas.openxmlformats.org/drawingml/2006/table">
            <a:tbl>
              <a:tblPr firstRow="1" bandRow="1">
                <a:tableStyleId>{68D230F3-CF80-4859-8CE7-A43EE81993B5}</a:tableStyleId>
              </a:tblPr>
              <a:tblGrid>
                <a:gridCol w="2448272"/>
                <a:gridCol w="2316677"/>
                <a:gridCol w="1931795"/>
                <a:gridCol w="2232248"/>
              </a:tblGrid>
              <a:tr h="370840">
                <a:tc>
                  <a:txBody>
                    <a:bodyPr/>
                    <a:lstStyle/>
                    <a:p>
                      <a:pPr algn="ctr"/>
                      <a:r>
                        <a:rPr lang="pt-BR" dirty="0" smtClean="0"/>
                        <a:t>Concessão até 10ªR</a:t>
                      </a:r>
                      <a:endParaRPr lang="pt-BR"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lang="pt-BR" dirty="0" smtClean="0"/>
                        <a:t>Concessão  após  11ªR</a:t>
                      </a:r>
                      <a:endParaRPr lang="pt-BR"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lang="pt-BR" dirty="0" smtClean="0"/>
                        <a:t>Partilha</a:t>
                      </a:r>
                      <a:endParaRPr lang="pt-BR"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lang="pt-BR" dirty="0" smtClean="0"/>
                        <a:t>Cessão Onerosa</a:t>
                      </a:r>
                      <a:endParaRPr lang="pt-BR"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pt-BR" dirty="0" smtClean="0"/>
                        <a:t>1%</a:t>
                      </a:r>
                      <a:r>
                        <a:rPr lang="pt-BR" baseline="0" dirty="0" smtClean="0"/>
                        <a:t> Receita Bruta de campos com PE</a:t>
                      </a:r>
                      <a:endParaRPr lang="pt-BR"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pt-BR" dirty="0" smtClean="0"/>
                        <a:t>1%</a:t>
                      </a:r>
                      <a:r>
                        <a:rPr lang="pt-BR" baseline="0" dirty="0" smtClean="0"/>
                        <a:t> Receita Bruta de campos com PE</a:t>
                      </a:r>
                      <a:endParaRPr lang="pt-BR"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r>
                        <a:rPr lang="pt-BR" dirty="0" smtClean="0"/>
                        <a:t>1%  valor bruto produção  anual</a:t>
                      </a:r>
                      <a:endParaRPr lang="pt-BR"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pt-BR" dirty="0" smtClean="0"/>
                        <a:t>0,5% valor bruto produção  anu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rowSpan="2">
                  <a:txBody>
                    <a:bodyPr/>
                    <a:lstStyle/>
                    <a:p>
                      <a:r>
                        <a:rPr lang="pt-BR" dirty="0" smtClean="0"/>
                        <a:t>No mínimo 0,5% em universidades ou instituições</a:t>
                      </a:r>
                      <a:r>
                        <a:rPr lang="pt-BR" baseline="0" dirty="0" smtClean="0"/>
                        <a:t> credenciadas na ANP</a:t>
                      </a:r>
                    </a:p>
                    <a:p>
                      <a:r>
                        <a:rPr lang="pt-BR" baseline="0" dirty="0" smtClean="0"/>
                        <a:t>O restante pode ser destinado a P,D&amp;I de interesse do contratado em instalações próprias ou não, em  </a:t>
                      </a:r>
                      <a:r>
                        <a:rPr lang="pt-BR" sz="1800" kern="1200" dirty="0" smtClean="0">
                          <a:effectLst/>
                        </a:rPr>
                        <a:t>temas relevantes ao setor de Petróleo e seus derivados, Gás Natural, o meio ambiente e energia</a:t>
                      </a:r>
                      <a:endParaRPr lang="pt-BR"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pt-BR" dirty="0" smtClean="0"/>
                        <a:t>No mínimo 0,5% em universidades ou instituições</a:t>
                      </a:r>
                      <a:r>
                        <a:rPr lang="pt-BR" baseline="0" dirty="0" smtClean="0"/>
                        <a:t> credenciadas na ANP, em projetos aprovados pela Agênc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pt-BR" dirty="0" smtClean="0"/>
                        <a:t>No mínimo 0,5% em universidades ou instituições</a:t>
                      </a:r>
                      <a:r>
                        <a:rPr lang="pt-BR" baseline="0" dirty="0" smtClean="0"/>
                        <a:t> credenciadas na ANP, em projetos aprovados pela Agênc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rowSpan="2">
                  <a:txBody>
                    <a:bodyPr/>
                    <a:lstStyle/>
                    <a:p>
                      <a:r>
                        <a:rPr lang="pt-BR" dirty="0" smtClean="0"/>
                        <a:t>Junto a universidades</a:t>
                      </a:r>
                      <a:r>
                        <a:rPr lang="pt-BR" baseline="0" dirty="0" smtClean="0"/>
                        <a:t>  ou instituições credenciadas na ANP em </a:t>
                      </a:r>
                      <a:r>
                        <a:rPr lang="pt-BR" sz="1800" kern="1200" dirty="0" smtClean="0">
                          <a:effectLst/>
                        </a:rPr>
                        <a:t>temas relevantes para o setor de Energia, abrangendo todas suas fontes ou matrizes, e Meio Ambiente</a:t>
                      </a:r>
                      <a:endParaRPr lang="pt-BR"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vMerge="1">
                  <a:txBody>
                    <a:bodyPr/>
                    <a:lstStyle/>
                    <a:p>
                      <a:endParaRPr lang="pt-BR" dirty="0"/>
                    </a:p>
                  </a:txBody>
                  <a:tcPr/>
                </a:tc>
                <a:tc gridSpan="2">
                  <a:txBody>
                    <a:bodyPr/>
                    <a:lstStyle/>
                    <a:p>
                      <a:r>
                        <a:rPr lang="pt-BR" dirty="0" smtClean="0"/>
                        <a:t>No mínimo 0,1% junto a fornecedores brasileiros - </a:t>
                      </a:r>
                      <a:r>
                        <a:rPr lang="pt-BR" baseline="0" dirty="0" smtClean="0"/>
                        <a:t> Conteúdo Local</a:t>
                      </a:r>
                    </a:p>
                    <a:p>
                      <a:r>
                        <a:rPr lang="pt-BR" baseline="0" dirty="0" smtClean="0"/>
                        <a:t>Até 0,4% para linhas de pesquisa ou projetos do próprio contratado em instalações próprias ou junto a sociedades empresárias sediadas no Brasil</a:t>
                      </a:r>
                      <a:endParaRPr lang="pt-BR"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pt-BR" dirty="0"/>
                    </a:p>
                  </a:txBody>
                  <a:tcPr/>
                </a:tc>
                <a:tc vMerge="1">
                  <a:txBody>
                    <a:bodyPr/>
                    <a:lstStyle/>
                    <a:p>
                      <a:endParaRPr lang="pt-BR" dirty="0"/>
                    </a:p>
                  </a:txBody>
                  <a:tcPr/>
                </a:tc>
              </a:tr>
              <a:tr h="370840">
                <a:tc gridSpan="2">
                  <a:txBody>
                    <a:bodyPr/>
                    <a:lstStyle/>
                    <a:p>
                      <a:r>
                        <a:rPr lang="pt-BR" dirty="0" smtClean="0"/>
                        <a:t>Investimento</a:t>
                      </a:r>
                      <a:r>
                        <a:rPr lang="pt-BR" baseline="0" dirty="0" smtClean="0"/>
                        <a:t> é deduzido na apuração da Participação Especial</a:t>
                      </a:r>
                      <a:endParaRPr lang="pt-BR"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pt-BR" dirty="0"/>
                    </a:p>
                  </a:txBody>
                  <a:tcPr/>
                </a:tc>
                <a:tc>
                  <a:txBody>
                    <a:bodyPr/>
                    <a:lstStyle/>
                    <a:p>
                      <a:r>
                        <a:rPr lang="pt-BR" dirty="0" smtClean="0"/>
                        <a:t>Investimento externo é deduzido</a:t>
                      </a:r>
                      <a:r>
                        <a:rPr lang="pt-BR" baseline="0" dirty="0" smtClean="0"/>
                        <a:t> do custo em óleo</a:t>
                      </a:r>
                      <a:endParaRPr lang="pt-BR"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r>
                        <a:rPr lang="pt-BR" dirty="0" smtClean="0"/>
                        <a:t>Não há dedução</a:t>
                      </a:r>
                      <a:endParaRPr lang="pt-BR"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bl>
          </a:graphicData>
        </a:graphic>
      </p:graphicFrame>
    </p:spTree>
    <p:extLst>
      <p:ext uri="{BB962C8B-B14F-4D97-AF65-F5344CB8AC3E}">
        <p14:creationId xmlns:p14="http://schemas.microsoft.com/office/powerpoint/2010/main" val="31968539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7"/>
          <p:cNvSpPr>
            <a:spLocks noGrp="1"/>
          </p:cNvSpPr>
          <p:nvPr>
            <p:ph type="title"/>
          </p:nvPr>
        </p:nvSpPr>
        <p:spPr>
          <a:xfrm>
            <a:off x="467544" y="116632"/>
            <a:ext cx="8229600" cy="850106"/>
          </a:xfrm>
        </p:spPr>
        <p:txBody>
          <a:bodyPr/>
          <a:lstStyle/>
          <a:p>
            <a:r>
              <a:rPr lang="pt-BR" altLang="pt-BR" sz="2800" dirty="0" smtClean="0"/>
              <a:t>Participações Governamentais e Recursos </a:t>
            </a:r>
            <a:r>
              <a:rPr lang="pt-BR" altLang="pt-BR" sz="2800" dirty="0"/>
              <a:t>para </a:t>
            </a:r>
            <a:r>
              <a:rPr lang="pt-BR" altLang="pt-BR" sz="2800" dirty="0" smtClean="0"/>
              <a:t>P,D&amp;I </a:t>
            </a:r>
            <a:r>
              <a:rPr lang="pt-BR" altLang="pt-BR" sz="2800" dirty="0"/>
              <a:t>– </a:t>
            </a:r>
            <a:r>
              <a:rPr lang="pt-BR" altLang="pt-BR" sz="2800" dirty="0" err="1" smtClean="0"/>
              <a:t>Óleo&amp;Gás</a:t>
            </a:r>
            <a:endParaRPr lang="pt-BR" sz="2800" dirty="0"/>
          </a:p>
        </p:txBody>
      </p:sp>
      <p:graphicFrame>
        <p:nvGraphicFramePr>
          <p:cNvPr id="9" name="Gráfico 8"/>
          <p:cNvGraphicFramePr>
            <a:graphicFrameLocks/>
          </p:cNvGraphicFramePr>
          <p:nvPr>
            <p:extLst>
              <p:ext uri="{D42A27DB-BD31-4B8C-83A1-F6EECF244321}">
                <p14:modId xmlns:p14="http://schemas.microsoft.com/office/powerpoint/2010/main" val="3540959015"/>
              </p:ext>
            </p:extLst>
          </p:nvPr>
        </p:nvGraphicFramePr>
        <p:xfrm>
          <a:off x="0" y="764704"/>
          <a:ext cx="9036495" cy="561662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26224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a:xfrm>
            <a:off x="157850" y="188640"/>
            <a:ext cx="8528950" cy="778098"/>
          </a:xfrm>
        </p:spPr>
        <p:txBody>
          <a:bodyPr/>
          <a:lstStyle/>
          <a:p>
            <a:r>
              <a:rPr lang="pt-BR" sz="2800" dirty="0" smtClean="0"/>
              <a:t>Instituições Credenciadas na ANP até julho/2016</a:t>
            </a:r>
            <a:endParaRPr lang="pt-BR" sz="2800" dirty="0"/>
          </a:p>
        </p:txBody>
      </p:sp>
      <p:sp>
        <p:nvSpPr>
          <p:cNvPr id="2" name="Retângulo 1"/>
          <p:cNvSpPr/>
          <p:nvPr/>
        </p:nvSpPr>
        <p:spPr>
          <a:xfrm>
            <a:off x="128795" y="6541366"/>
            <a:ext cx="7294469" cy="276999"/>
          </a:xfrm>
          <a:prstGeom prst="rect">
            <a:avLst/>
          </a:prstGeom>
        </p:spPr>
        <p:txBody>
          <a:bodyPr wrap="square">
            <a:spAutoFit/>
          </a:bodyPr>
          <a:lstStyle/>
          <a:p>
            <a:r>
              <a:rPr lang="pt-BR" sz="1200" dirty="0" smtClean="0"/>
              <a:t>Fonte: ANP, </a:t>
            </a:r>
            <a:r>
              <a:rPr lang="pt-BR" sz="1200" dirty="0" err="1" smtClean="0"/>
              <a:t>ago</a:t>
            </a:r>
            <a:r>
              <a:rPr lang="pt-BR" sz="1200" dirty="0" smtClean="0"/>
              <a:t>/2016 , http</a:t>
            </a:r>
            <a:r>
              <a:rPr lang="pt-BR" sz="1200" dirty="0"/>
              <a:t>://anp.gov.br/?pg=82607&amp;m=&amp;t1=&amp;t2=&amp;t3=&amp;t4=&amp;ar=&amp;ps=&amp;1475258770722</a:t>
            </a:r>
          </a:p>
        </p:txBody>
      </p:sp>
      <p:pic>
        <p:nvPicPr>
          <p:cNvPr id="921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7074" t="16368" r="20198" b="6333"/>
          <a:stretch/>
        </p:blipFill>
        <p:spPr bwMode="auto">
          <a:xfrm>
            <a:off x="308364" y="711467"/>
            <a:ext cx="8440100" cy="58504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111053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a:xfrm>
            <a:off x="157850" y="116632"/>
            <a:ext cx="8528950" cy="850106"/>
          </a:xfrm>
        </p:spPr>
        <p:txBody>
          <a:bodyPr/>
          <a:lstStyle/>
          <a:p>
            <a:r>
              <a:rPr lang="pt-BR" sz="3200" dirty="0" smtClean="0"/>
              <a:t>Recursos P,D&amp;I por UF – </a:t>
            </a:r>
            <a:r>
              <a:rPr lang="pt-BR" sz="3200" dirty="0" err="1" smtClean="0"/>
              <a:t>Óleo&amp;Gás</a:t>
            </a:r>
            <a:r>
              <a:rPr lang="pt-BR" sz="3200" dirty="0"/>
              <a:t> </a:t>
            </a:r>
            <a:r>
              <a:rPr lang="pt-BR" sz="3200" dirty="0" smtClean="0"/>
              <a:t>(2006-2016*)</a:t>
            </a:r>
            <a:endParaRPr lang="pt-BR" sz="3200" dirty="0"/>
          </a:p>
        </p:txBody>
      </p:sp>
      <p:sp>
        <p:nvSpPr>
          <p:cNvPr id="5" name="Título 1"/>
          <p:cNvSpPr txBox="1">
            <a:spLocks/>
          </p:cNvSpPr>
          <p:nvPr/>
        </p:nvSpPr>
        <p:spPr>
          <a:xfrm>
            <a:off x="609600" y="427038"/>
            <a:ext cx="8229600" cy="850106"/>
          </a:xfrm>
          <a:prstGeom prst="rect">
            <a:avLst/>
          </a:prstGeom>
        </p:spPr>
        <p:txBody>
          <a:bodyPr/>
          <a:lstStyle>
            <a:lvl1pPr algn="ctr" rtl="0" eaLnBrk="0" fontAlgn="base" hangingPunct="0">
              <a:spcBef>
                <a:spcPct val="0"/>
              </a:spcBef>
              <a:spcAft>
                <a:spcPct val="0"/>
              </a:spcAft>
              <a:defRPr sz="3600" b="1">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Calibri" pitchFamily="34" charset="0"/>
              </a:defRPr>
            </a:lvl2pPr>
            <a:lvl3pPr algn="ctr" rtl="0" eaLnBrk="0" fontAlgn="base" hangingPunct="0">
              <a:spcBef>
                <a:spcPct val="0"/>
              </a:spcBef>
              <a:spcAft>
                <a:spcPct val="0"/>
              </a:spcAft>
              <a:defRPr sz="4400">
                <a:solidFill>
                  <a:schemeClr val="tx2"/>
                </a:solidFill>
                <a:latin typeface="Calibri" pitchFamily="34" charset="0"/>
              </a:defRPr>
            </a:lvl3pPr>
            <a:lvl4pPr algn="ctr" rtl="0" eaLnBrk="0" fontAlgn="base" hangingPunct="0">
              <a:spcBef>
                <a:spcPct val="0"/>
              </a:spcBef>
              <a:spcAft>
                <a:spcPct val="0"/>
              </a:spcAft>
              <a:defRPr sz="4400">
                <a:solidFill>
                  <a:schemeClr val="tx2"/>
                </a:solidFill>
                <a:latin typeface="Calibri" pitchFamily="34" charset="0"/>
              </a:defRPr>
            </a:lvl4pPr>
            <a:lvl5pPr algn="ctr" rtl="0" eaLnBrk="0" fontAlgn="base" hangingPunct="0">
              <a:spcBef>
                <a:spcPct val="0"/>
              </a:spcBef>
              <a:spcAft>
                <a:spcPct val="0"/>
              </a:spcAft>
              <a:defRPr sz="4400">
                <a:solidFill>
                  <a:schemeClr val="tx2"/>
                </a:solidFill>
                <a:latin typeface="Calibri" pitchFamily="34"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endParaRPr lang="pt-BR" kern="0" dirty="0"/>
          </a:p>
        </p:txBody>
      </p:sp>
      <p:sp>
        <p:nvSpPr>
          <p:cNvPr id="2" name="Retângulo 1"/>
          <p:cNvSpPr/>
          <p:nvPr/>
        </p:nvSpPr>
        <p:spPr>
          <a:xfrm>
            <a:off x="157849" y="6472364"/>
            <a:ext cx="7294469" cy="276999"/>
          </a:xfrm>
          <a:prstGeom prst="rect">
            <a:avLst/>
          </a:prstGeom>
        </p:spPr>
        <p:txBody>
          <a:bodyPr wrap="square">
            <a:spAutoFit/>
          </a:bodyPr>
          <a:lstStyle/>
          <a:p>
            <a:r>
              <a:rPr lang="pt-BR" sz="1200" dirty="0" smtClean="0"/>
              <a:t>Fonte: ANP, </a:t>
            </a:r>
            <a:r>
              <a:rPr lang="pt-BR" sz="1200" dirty="0" err="1" smtClean="0"/>
              <a:t>ago</a:t>
            </a:r>
            <a:r>
              <a:rPr lang="pt-BR" sz="1200" dirty="0" smtClean="0"/>
              <a:t>/2016  http</a:t>
            </a:r>
            <a:r>
              <a:rPr lang="pt-BR" sz="1200" dirty="0"/>
              <a:t>://anp.gov.br/?pg=82607&amp;m=&amp;t1=&amp;t2=&amp;t3=&amp;t4=&amp;ar=&amp;ps=&amp;1475258770722</a:t>
            </a:r>
          </a:p>
        </p:txBody>
      </p:sp>
      <p:pic>
        <p:nvPicPr>
          <p:cNvPr id="717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6134" t="17070" r="27606" b="18376"/>
          <a:stretch/>
        </p:blipFill>
        <p:spPr bwMode="auto">
          <a:xfrm>
            <a:off x="299939" y="645937"/>
            <a:ext cx="8573985" cy="5533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aixaDeTexto 3"/>
          <p:cNvSpPr txBox="1"/>
          <p:nvPr/>
        </p:nvSpPr>
        <p:spPr>
          <a:xfrm>
            <a:off x="175205" y="6179839"/>
            <a:ext cx="1928926" cy="369332"/>
          </a:xfrm>
          <a:prstGeom prst="rect">
            <a:avLst/>
          </a:prstGeom>
          <a:noFill/>
        </p:spPr>
        <p:txBody>
          <a:bodyPr wrap="none" rtlCol="0">
            <a:spAutoFit/>
          </a:bodyPr>
          <a:lstStyle/>
          <a:p>
            <a:r>
              <a:rPr lang="pt-BR" dirty="0" smtClean="0"/>
              <a:t>* - até julho/2016</a:t>
            </a:r>
            <a:endParaRPr lang="pt-BR" dirty="0"/>
          </a:p>
        </p:txBody>
      </p:sp>
    </p:spTree>
    <p:extLst>
      <p:ext uri="{BB962C8B-B14F-4D97-AF65-F5344CB8AC3E}">
        <p14:creationId xmlns:p14="http://schemas.microsoft.com/office/powerpoint/2010/main" val="506216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Logo"/>
</p:tagLst>
</file>

<file path=ppt/theme/theme1.xml><?xml version="1.0" encoding="utf-8"?>
<a:theme xmlns:a="http://schemas.openxmlformats.org/drawingml/2006/main" name="1_Design padrão">
  <a:themeElements>
    <a:clrScheme name="Design padrã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1"/>
          </a:solidFill>
        </a:ln>
      </a:spPr>
      <a:bodyPr rtlCol="0" anchor="ctr"/>
      <a:lstStyle>
        <a:defPPr algn="ctr">
          <a:defRPr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Design padrã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sign padrã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sign padrã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sign padrã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sign padrã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sign padrã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sign padrã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sign padrã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sign padrã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sign padrã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sign padrã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sign padrã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893</TotalTime>
  <Words>1881</Words>
  <Application>Microsoft Office PowerPoint</Application>
  <PresentationFormat>Apresentação na tela (4:3)</PresentationFormat>
  <Paragraphs>108</Paragraphs>
  <Slides>13</Slides>
  <Notes>2</Notes>
  <HiddenSlides>0</HiddenSlides>
  <MMClips>0</MMClips>
  <ScaleCrop>false</ScaleCrop>
  <HeadingPairs>
    <vt:vector size="6" baseType="variant">
      <vt:variant>
        <vt:lpstr>Tema</vt:lpstr>
      </vt:variant>
      <vt:variant>
        <vt:i4>1</vt:i4>
      </vt:variant>
      <vt:variant>
        <vt:lpstr>Servidores OLE incorporados</vt:lpstr>
      </vt:variant>
      <vt:variant>
        <vt:i4>1</vt:i4>
      </vt:variant>
      <vt:variant>
        <vt:lpstr>Títulos de slides</vt:lpstr>
      </vt:variant>
      <vt:variant>
        <vt:i4>13</vt:i4>
      </vt:variant>
    </vt:vector>
  </HeadingPairs>
  <TitlesOfParts>
    <vt:vector size="15" baseType="lpstr">
      <vt:lpstr>1_Design padrão</vt:lpstr>
      <vt:lpstr>think-cell Slide</vt:lpstr>
      <vt:lpstr>Panorama de Petróleo e Gás no Brasil e Investimentos em P,D&amp;I</vt:lpstr>
      <vt:lpstr>Apresentação do PowerPoint</vt:lpstr>
      <vt:lpstr>Produção de Petróleo + LGN </vt:lpstr>
      <vt:lpstr>Produção de Gás Natural no Brasil</vt:lpstr>
      <vt:lpstr>Preços do Petróleo</vt:lpstr>
      <vt:lpstr>P,D&amp;I nos Contratos de E&amp;P</vt:lpstr>
      <vt:lpstr>Participações Governamentais e Recursos para P,D&amp;I – Óleo&amp;Gás</vt:lpstr>
      <vt:lpstr>Instituições Credenciadas na ANP até julho/2016</vt:lpstr>
      <vt:lpstr>Recursos P,D&amp;I por UF – Óleo&amp;Gás (2006-2016*)</vt:lpstr>
      <vt:lpstr>Recursos P,D&amp;I por Área – Óleo&amp;Gás (2006-2016*)</vt:lpstr>
      <vt:lpstr>Prêmio ANP de Inovação Tecnológica 2016</vt:lpstr>
      <vt:lpstr>Desafios Tecnológicos de E&amp;P no Brasil</vt:lpstr>
      <vt:lpstr>Impacto do PLS nº 696/2015 na Indústria Petrolífera</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cobertas de O&amp;G no Pré-Sal</dc:title>
  <dc:creator>Clayton de Souza Pontes</dc:creator>
  <cp:lastModifiedBy>Clayton de Souza Pontes</cp:lastModifiedBy>
  <cp:revision>85</cp:revision>
  <cp:lastPrinted>2016-10-03T21:30:08Z</cp:lastPrinted>
  <dcterms:created xsi:type="dcterms:W3CDTF">2016-08-26T17:42:47Z</dcterms:created>
  <dcterms:modified xsi:type="dcterms:W3CDTF">2016-10-03T21:34:38Z</dcterms:modified>
</cp:coreProperties>
</file>